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5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1"/>
  </p:sldMasterIdLst>
  <p:notesMasterIdLst>
    <p:notesMasterId r:id="rId13"/>
  </p:notesMasterIdLst>
  <p:sldIdLst>
    <p:sldId id="256" r:id="rId2"/>
    <p:sldId id="284" r:id="rId3"/>
    <p:sldId id="296" r:id="rId4"/>
    <p:sldId id="289" r:id="rId5"/>
    <p:sldId id="297" r:id="rId6"/>
    <p:sldId id="292" r:id="rId7"/>
    <p:sldId id="298" r:id="rId8"/>
    <p:sldId id="293" r:id="rId9"/>
    <p:sldId id="299" r:id="rId10"/>
    <p:sldId id="287" r:id="rId11"/>
    <p:sldId id="259" r:id="rId12"/>
  </p:sldIdLst>
  <p:sldSz cx="9144000" cy="5715000" type="screen16x10"/>
  <p:notesSz cx="6858000" cy="9144000"/>
  <p:custDataLst>
    <p:tags r:id="rId14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800">
          <p15:clr>
            <a:srgbClr val="A4A3A4"/>
          </p15:clr>
        </p15:guide>
        <p15:guide id="2" pos="2835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1539C"/>
    <a:srgbClr val="27558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3992" autoAdjust="0"/>
  </p:normalViewPr>
  <p:slideViewPr>
    <p:cSldViewPr showGuides="1">
      <p:cViewPr varScale="1">
        <p:scale>
          <a:sx n="111" d="100"/>
          <a:sy n="111" d="100"/>
        </p:scale>
        <p:origin x="804" y="108"/>
      </p:cViewPr>
      <p:guideLst>
        <p:guide orient="horz" pos="1800"/>
        <p:guide pos="283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6D318B-36E7-4F47-9891-910F4F5A951B}" type="datetimeFigureOut">
              <a:rPr lang="zh-CN" altLang="en-US" smtClean="0"/>
              <a:t>2019/1/3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685800"/>
            <a:ext cx="54864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F30949-8717-4A3E-BF85-48E2D868F29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153459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F30949-8717-4A3E-BF85-48E2D868F296}" type="slidenum">
              <a:rPr lang="zh-CN" altLang="en-US" smtClean="0"/>
              <a:t>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541436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lnSpc>
                <a:spcPct val="250000"/>
              </a:lnSpc>
              <a:buFont typeface="+mj-lt"/>
              <a:buNone/>
            </a:pP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F30949-8717-4A3E-BF85-48E2D868F296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989528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F30949-8717-4A3E-BF85-48E2D868F296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307759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F30949-8717-4A3E-BF85-48E2D868F296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78671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F30949-8717-4A3E-BF85-48E2D868F296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5682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优化</a:t>
            </a:r>
            <a:r>
              <a:rPr lang="en-US" altLang="zh-CN" dirty="0" smtClean="0"/>
              <a:t>RTB</a:t>
            </a:r>
            <a:r>
              <a:rPr lang="zh-CN" altLang="en-US" dirty="0" smtClean="0"/>
              <a:t>图表，因为我对我做的东西不是很满意，虽然能满足当前的基本需要，但是当中存在很多问题，比如：现在的</a:t>
            </a:r>
            <a:r>
              <a:rPr lang="en-US" altLang="zh-CN" dirty="0" smtClean="0"/>
              <a:t>RTB</a:t>
            </a:r>
            <a:r>
              <a:rPr lang="zh-CN" altLang="en-US" dirty="0" smtClean="0"/>
              <a:t>中的图表数据展示并不全面（数据分归档不全面仅仅归档到天），战士的数据需要</a:t>
            </a:r>
            <a:r>
              <a:rPr lang="en-US" altLang="zh-CN" dirty="0" err="1" smtClean="0"/>
              <a:t>es</a:t>
            </a:r>
            <a:r>
              <a:rPr lang="zh-CN" altLang="en-US" dirty="0" smtClean="0"/>
              <a:t>关联</a:t>
            </a:r>
            <a:r>
              <a:rPr lang="en-US" altLang="zh-CN" dirty="0" err="1" smtClean="0"/>
              <a:t>mysql</a:t>
            </a:r>
            <a:r>
              <a:rPr lang="zh-CN" altLang="en-US" dirty="0" smtClean="0"/>
              <a:t>数据库查询，很大程度上降低了查询效率；（通过定时器或者小程序独立统计详细的进行数据归档）；</a:t>
            </a:r>
            <a:endParaRPr lang="en-US" altLang="zh-CN" dirty="0" smtClean="0"/>
          </a:p>
          <a:p>
            <a:endParaRPr lang="en-US" altLang="zh-CN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 smtClean="0"/>
              <a:t>是否有</a:t>
            </a:r>
            <a:r>
              <a:rPr lang="sq-AL" altLang="zh-CN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elasticsearch</a:t>
            </a:r>
            <a:r>
              <a:rPr lang="zh-CN" altLang="en-US" dirty="0" smtClean="0">
                <a:latin typeface="+mn-lt"/>
                <a:ea typeface="+mn-ea"/>
              </a:rPr>
              <a:t>替代产品，可进行连表查询等；</a:t>
            </a:r>
            <a:endParaRPr lang="en-US" altLang="zh-CN" dirty="0" smtClean="0">
              <a:latin typeface="+mn-lt"/>
              <a:ea typeface="+mn-e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dirty="0" smtClean="0">
              <a:latin typeface="+mn-lt"/>
              <a:ea typeface="+mn-e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dirty="0" smtClean="0"/>
              <a:t>Go</a:t>
            </a:r>
            <a:r>
              <a:rPr lang="zh-CN" altLang="en-US" dirty="0" smtClean="0"/>
              <a:t>语言因为在</a:t>
            </a:r>
            <a:r>
              <a:rPr lang="en-US" altLang="zh-CN" dirty="0" smtClean="0"/>
              <a:t>RTB</a:t>
            </a:r>
            <a:r>
              <a:rPr lang="zh-CN" altLang="en-US" dirty="0" smtClean="0"/>
              <a:t>项目中得到运用，可以学习使用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F30949-8717-4A3E-BF85-48E2D868F296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821644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2.jp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6745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3638128" y="1809471"/>
            <a:ext cx="5110336" cy="584775"/>
          </a:xfrm>
        </p:spPr>
        <p:txBody>
          <a:bodyPr wrap="square">
            <a:spAutoFit/>
          </a:bodyPr>
          <a:lstStyle>
            <a:lvl1pPr algn="r">
              <a:defRPr sz="32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4358208" y="2497460"/>
            <a:ext cx="4384576" cy="400110"/>
          </a:xfrm>
        </p:spPr>
        <p:txBody>
          <a:bodyPr wrap="square">
            <a:spAutoFit/>
          </a:bodyPr>
          <a:lstStyle>
            <a:lvl1pPr marL="0" indent="0" algn="r">
              <a:buNone/>
              <a:defRPr sz="2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 smtClean="0"/>
              <a:t>单击此处编辑母版副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7649384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66815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057300"/>
            <a:ext cx="8229600" cy="3771636"/>
          </a:xfrm>
        </p:spPr>
        <p:txBody>
          <a:bodyPr>
            <a:normAutofit/>
          </a:bodyPr>
          <a:lstStyle>
            <a:lvl1pPr>
              <a:defRPr sz="26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400"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 sz="2000"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 sz="1800"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 sz="1800"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540675" y="5320266"/>
            <a:ext cx="405408" cy="304271"/>
          </a:xfrm>
        </p:spPr>
        <p:txBody>
          <a:bodyPr/>
          <a:lstStyle>
            <a:lvl1pPr algn="ctr">
              <a:defRPr>
                <a:solidFill>
                  <a:srgbClr val="27558F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fld id="{1B3C2100-B283-423C-80F9-9CBC96B9E551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sp>
        <p:nvSpPr>
          <p:cNvPr id="9" name="标题 1"/>
          <p:cNvSpPr>
            <a:spLocks noGrp="1"/>
          </p:cNvSpPr>
          <p:nvPr>
            <p:ph type="title"/>
          </p:nvPr>
        </p:nvSpPr>
        <p:spPr>
          <a:xfrm>
            <a:off x="3409528" y="121196"/>
            <a:ext cx="5266928" cy="396387"/>
          </a:xfrm>
        </p:spPr>
        <p:txBody>
          <a:bodyPr>
            <a:noAutofit/>
          </a:bodyPr>
          <a:lstStyle>
            <a:lvl1pPr algn="r">
              <a:defRPr sz="28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1699653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3672417"/>
            <a:ext cx="7772400" cy="1135063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422261"/>
            <a:ext cx="7772400" cy="1250156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3C2100-B283-423C-80F9-9CBC96B9E55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00579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两栏内容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057300"/>
            <a:ext cx="4038600" cy="3771636"/>
          </a:xfrm>
        </p:spPr>
        <p:txBody>
          <a:bodyPr/>
          <a:lstStyle>
            <a:lvl1pPr>
              <a:defRPr sz="26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400"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 sz="2000"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 sz="1800"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 sz="1800"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057300"/>
            <a:ext cx="4038600" cy="3771636"/>
          </a:xfrm>
        </p:spPr>
        <p:txBody>
          <a:bodyPr/>
          <a:lstStyle>
            <a:lvl1pPr>
              <a:defRPr sz="26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400"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 sz="2000"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 sz="1800"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 sz="1800"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8" name="标题 1"/>
          <p:cNvSpPr>
            <a:spLocks noGrp="1"/>
          </p:cNvSpPr>
          <p:nvPr>
            <p:ph type="title"/>
          </p:nvPr>
        </p:nvSpPr>
        <p:spPr>
          <a:xfrm>
            <a:off x="3409528" y="121196"/>
            <a:ext cx="5266928" cy="396387"/>
          </a:xfrm>
        </p:spPr>
        <p:txBody>
          <a:bodyPr>
            <a:noAutofit/>
          </a:bodyPr>
          <a:lstStyle>
            <a:lvl1pPr algn="r">
              <a:defRPr sz="28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540675" y="5320266"/>
            <a:ext cx="405408" cy="304271"/>
          </a:xfrm>
        </p:spPr>
        <p:txBody>
          <a:bodyPr/>
          <a:lstStyle>
            <a:lvl1pPr algn="ctr">
              <a:defRPr>
                <a:solidFill>
                  <a:srgbClr val="27558F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fld id="{1B3C2100-B283-423C-80F9-9CBC96B9E551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504787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458258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457200" y="228865"/>
            <a:ext cx="8229600" cy="9525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333500"/>
            <a:ext cx="8229600" cy="37716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5296959"/>
            <a:ext cx="21336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5296959"/>
            <a:ext cx="28956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5296959"/>
            <a:ext cx="21336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3C2100-B283-423C-80F9-9CBC96B9E55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191380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5" r:id="rId5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10" Type="http://schemas.openxmlformats.org/officeDocument/2006/relationships/notesSlide" Target="../notesSlides/notesSlide2.xml"/><Relationship Id="rId4" Type="http://schemas.openxmlformats.org/officeDocument/2006/relationships/tags" Target="../tags/tag8.xml"/><Relationship Id="rId9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1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2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2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02260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3638128" y="1809471"/>
            <a:ext cx="5110336" cy="584775"/>
          </a:xfrm>
        </p:spPr>
        <p:txBody>
          <a:bodyPr/>
          <a:lstStyle/>
          <a:p>
            <a:pPr algn="dist"/>
            <a:r>
              <a:rPr lang="en-US" altLang="zh-CN" dirty="0" smtClean="0">
                <a:latin typeface="Arial" panose="020B0604020202020204" pitchFamily="34" charset="0"/>
                <a:cs typeface="Arial" panose="020B0604020202020204" pitchFamily="34" charset="0"/>
              </a:rPr>
              <a:t>2019</a:t>
            </a:r>
            <a:r>
              <a:rPr lang="zh-CN" alt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年</a:t>
            </a:r>
            <a:r>
              <a:rPr lang="en-US" altLang="zh-CN" dirty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en-US" altLang="zh-CN" dirty="0" smtClean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zh-CN" alt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月月报</a:t>
            </a:r>
            <a:endParaRPr lang="en-US" altLang="zh-CN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3707904" y="2497460"/>
            <a:ext cx="5034880" cy="1194173"/>
          </a:xfrm>
        </p:spPr>
        <p:txBody>
          <a:bodyPr/>
          <a:lstStyle/>
          <a:p>
            <a:pPr algn="dist"/>
            <a:r>
              <a:rPr lang="zh-CN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本月计划 </a:t>
            </a: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/ </a:t>
            </a:r>
            <a:r>
              <a:rPr lang="zh-CN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完成情况 </a:t>
            </a: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/ </a:t>
            </a:r>
            <a:r>
              <a:rPr lang="zh-CN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问题及改进 </a:t>
            </a: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/ </a:t>
            </a:r>
            <a:r>
              <a:rPr lang="zh-CN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下月</a:t>
            </a:r>
            <a:r>
              <a:rPr lang="zh-CN" alt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计划</a:t>
            </a:r>
            <a:endParaRPr lang="en-US" altLang="zh-CN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dist"/>
            <a:endParaRPr lang="en-US" altLang="zh-CN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dist"/>
            <a:endParaRPr lang="en-US" altLang="zh-CN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zh-CN" altLang="en-US" dirty="0" smtClean="0"/>
              <a:t>基础平台部：盛法云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700519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ym typeface="Arial" panose="020B0604020202020204" pitchFamily="34" charset="0"/>
              </a:rPr>
              <a:t>下个月工作</a:t>
            </a:r>
            <a:r>
              <a:rPr lang="zh-CN" altLang="en-US" dirty="0" smtClean="0">
                <a:sym typeface="Arial" panose="020B0604020202020204" pitchFamily="34" charset="0"/>
              </a:rPr>
              <a:t>计划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3C2100-B283-423C-80F9-9CBC96B9E551}" type="slidenum">
              <a:rPr lang="zh-CN" altLang="en-US" smtClean="0"/>
              <a:pPr/>
              <a:t>9</a:t>
            </a:fld>
            <a:endParaRPr lang="zh-CN" altLang="en-US" dirty="0"/>
          </a:p>
        </p:txBody>
      </p:sp>
      <p:sp>
        <p:nvSpPr>
          <p:cNvPr id="6" name="任意多边形 5"/>
          <p:cNvSpPr>
            <a:spLocks/>
          </p:cNvSpPr>
          <p:nvPr/>
        </p:nvSpPr>
        <p:spPr bwMode="auto">
          <a:xfrm>
            <a:off x="3392833" y="1129807"/>
            <a:ext cx="2749153" cy="3486730"/>
          </a:xfrm>
          <a:custGeom>
            <a:avLst/>
            <a:gdLst>
              <a:gd name="connsiteX0" fmla="*/ 1511076 w 2749153"/>
              <a:gd name="connsiteY0" fmla="*/ 0 h 3486730"/>
              <a:gd name="connsiteX1" fmla="*/ 1695471 w 2749153"/>
              <a:gd name="connsiteY1" fmla="*/ 14369 h 3486730"/>
              <a:gd name="connsiteX2" fmla="*/ 1870286 w 2749153"/>
              <a:gd name="connsiteY2" fmla="*/ 55079 h 3486730"/>
              <a:gd name="connsiteX3" fmla="*/ 2030733 w 2749153"/>
              <a:gd name="connsiteY3" fmla="*/ 117342 h 3486730"/>
              <a:gd name="connsiteX4" fmla="*/ 2186391 w 2749153"/>
              <a:gd name="connsiteY4" fmla="*/ 201158 h 3486730"/>
              <a:gd name="connsiteX5" fmla="*/ 2322891 w 2749153"/>
              <a:gd name="connsiteY5" fmla="*/ 308921 h 3486730"/>
              <a:gd name="connsiteX6" fmla="*/ 2442627 w 2749153"/>
              <a:gd name="connsiteY6" fmla="*/ 431052 h 3486730"/>
              <a:gd name="connsiteX7" fmla="*/ 2550390 w 2749153"/>
              <a:gd name="connsiteY7" fmla="*/ 567552 h 3486730"/>
              <a:gd name="connsiteX8" fmla="*/ 2631811 w 2749153"/>
              <a:gd name="connsiteY8" fmla="*/ 718420 h 3486730"/>
              <a:gd name="connsiteX9" fmla="*/ 2696469 w 2749153"/>
              <a:gd name="connsiteY9" fmla="*/ 883656 h 3486730"/>
              <a:gd name="connsiteX10" fmla="*/ 2734785 w 2749153"/>
              <a:gd name="connsiteY10" fmla="*/ 1060867 h 3486730"/>
              <a:gd name="connsiteX11" fmla="*/ 2749153 w 2749153"/>
              <a:gd name="connsiteY11" fmla="*/ 1245261 h 3486730"/>
              <a:gd name="connsiteX12" fmla="*/ 2734785 w 2749153"/>
              <a:gd name="connsiteY12" fmla="*/ 1424866 h 3486730"/>
              <a:gd name="connsiteX13" fmla="*/ 2696469 w 2749153"/>
              <a:gd name="connsiteY13" fmla="*/ 1602076 h 3486730"/>
              <a:gd name="connsiteX14" fmla="*/ 2631811 w 2749153"/>
              <a:gd name="connsiteY14" fmla="*/ 1767313 h 3486730"/>
              <a:gd name="connsiteX15" fmla="*/ 2550390 w 2749153"/>
              <a:gd name="connsiteY15" fmla="*/ 1918181 h 3486730"/>
              <a:gd name="connsiteX16" fmla="*/ 2442627 w 2749153"/>
              <a:gd name="connsiteY16" fmla="*/ 2059470 h 3486730"/>
              <a:gd name="connsiteX17" fmla="*/ 2322891 w 2749153"/>
              <a:gd name="connsiteY17" fmla="*/ 2181601 h 3486730"/>
              <a:gd name="connsiteX18" fmla="*/ 2186391 w 2749153"/>
              <a:gd name="connsiteY18" fmla="*/ 2284575 h 3486730"/>
              <a:gd name="connsiteX19" fmla="*/ 2030733 w 2749153"/>
              <a:gd name="connsiteY19" fmla="*/ 2373180 h 3486730"/>
              <a:gd name="connsiteX20" fmla="*/ 1870286 w 2749153"/>
              <a:gd name="connsiteY20" fmla="*/ 2435443 h 3486730"/>
              <a:gd name="connsiteX21" fmla="*/ 1695471 w 2749153"/>
              <a:gd name="connsiteY21" fmla="*/ 2476153 h 3486730"/>
              <a:gd name="connsiteX22" fmla="*/ 1511076 w 2749153"/>
              <a:gd name="connsiteY22" fmla="*/ 2485732 h 3486730"/>
              <a:gd name="connsiteX23" fmla="*/ 601085 w 2749153"/>
              <a:gd name="connsiteY23" fmla="*/ 2485732 h 3486730"/>
              <a:gd name="connsiteX24" fmla="*/ 601077 w 2749153"/>
              <a:gd name="connsiteY24" fmla="*/ 2485731 h 3486730"/>
              <a:gd name="connsiteX25" fmla="*/ 500498 w 2749153"/>
              <a:gd name="connsiteY25" fmla="*/ 2500100 h 3486730"/>
              <a:gd name="connsiteX26" fmla="*/ 407104 w 2749153"/>
              <a:gd name="connsiteY26" fmla="*/ 2538415 h 3486730"/>
              <a:gd name="connsiteX27" fmla="*/ 325683 w 2749153"/>
              <a:gd name="connsiteY27" fmla="*/ 2603073 h 3486730"/>
              <a:gd name="connsiteX28" fmla="*/ 265814 w 2749153"/>
              <a:gd name="connsiteY28" fmla="*/ 2679705 h 3486730"/>
              <a:gd name="connsiteX29" fmla="*/ 222709 w 2749153"/>
              <a:gd name="connsiteY29" fmla="*/ 2777889 h 3486730"/>
              <a:gd name="connsiteX30" fmla="*/ 213130 w 2749153"/>
              <a:gd name="connsiteY30" fmla="*/ 2880862 h 3486730"/>
              <a:gd name="connsiteX31" fmla="*/ 222709 w 2749153"/>
              <a:gd name="connsiteY31" fmla="*/ 2988625 h 3486730"/>
              <a:gd name="connsiteX32" fmla="*/ 265814 w 2749153"/>
              <a:gd name="connsiteY32" fmla="*/ 3079625 h 3486730"/>
              <a:gd name="connsiteX33" fmla="*/ 325683 w 2749153"/>
              <a:gd name="connsiteY33" fmla="*/ 3158651 h 3486730"/>
              <a:gd name="connsiteX34" fmla="*/ 407104 w 2749153"/>
              <a:gd name="connsiteY34" fmla="*/ 3220914 h 3486730"/>
              <a:gd name="connsiteX35" fmla="*/ 500498 w 2749153"/>
              <a:gd name="connsiteY35" fmla="*/ 3261625 h 3486730"/>
              <a:gd name="connsiteX36" fmla="*/ 601077 w 2749153"/>
              <a:gd name="connsiteY36" fmla="*/ 3275993 h 3486730"/>
              <a:gd name="connsiteX37" fmla="*/ 601078 w 2749153"/>
              <a:gd name="connsiteY37" fmla="*/ 3275993 h 3486730"/>
              <a:gd name="connsiteX38" fmla="*/ 601078 w 2749153"/>
              <a:gd name="connsiteY38" fmla="*/ 3486730 h 3486730"/>
              <a:gd name="connsiteX39" fmla="*/ 481341 w 2749153"/>
              <a:gd name="connsiteY39" fmla="*/ 3474756 h 3486730"/>
              <a:gd name="connsiteX40" fmla="*/ 368789 w 2749153"/>
              <a:gd name="connsiteY40" fmla="*/ 3436441 h 3486730"/>
              <a:gd name="connsiteX41" fmla="*/ 265816 w 2749153"/>
              <a:gd name="connsiteY41" fmla="*/ 3383757 h 3486730"/>
              <a:gd name="connsiteX42" fmla="*/ 179605 w 2749153"/>
              <a:gd name="connsiteY42" fmla="*/ 3309520 h 3486730"/>
              <a:gd name="connsiteX43" fmla="*/ 100579 w 2749153"/>
              <a:gd name="connsiteY43" fmla="*/ 3216125 h 3486730"/>
              <a:gd name="connsiteX44" fmla="*/ 47895 w 2749153"/>
              <a:gd name="connsiteY44" fmla="*/ 3115547 h 3486730"/>
              <a:gd name="connsiteX45" fmla="*/ 14369 w 2749153"/>
              <a:gd name="connsiteY45" fmla="*/ 3002994 h 3486730"/>
              <a:gd name="connsiteX46" fmla="*/ 0 w 2749153"/>
              <a:gd name="connsiteY46" fmla="*/ 2880863 h 3486730"/>
              <a:gd name="connsiteX47" fmla="*/ 14369 w 2749153"/>
              <a:gd name="connsiteY47" fmla="*/ 2758732 h 3486730"/>
              <a:gd name="connsiteX48" fmla="*/ 47895 w 2749153"/>
              <a:gd name="connsiteY48" fmla="*/ 2646179 h 3486730"/>
              <a:gd name="connsiteX49" fmla="*/ 100579 w 2749153"/>
              <a:gd name="connsiteY49" fmla="*/ 2543206 h 3486730"/>
              <a:gd name="connsiteX50" fmla="*/ 179605 w 2749153"/>
              <a:gd name="connsiteY50" fmla="*/ 2449811 h 3486730"/>
              <a:gd name="connsiteX51" fmla="*/ 265816 w 2749153"/>
              <a:gd name="connsiteY51" fmla="*/ 2377969 h 3486730"/>
              <a:gd name="connsiteX52" fmla="*/ 368789 w 2749153"/>
              <a:gd name="connsiteY52" fmla="*/ 2322890 h 3486730"/>
              <a:gd name="connsiteX53" fmla="*/ 481341 w 2749153"/>
              <a:gd name="connsiteY53" fmla="*/ 2284575 h 3486730"/>
              <a:gd name="connsiteX54" fmla="*/ 601078 w 2749153"/>
              <a:gd name="connsiteY54" fmla="*/ 2274996 h 3486730"/>
              <a:gd name="connsiteX55" fmla="*/ 1511076 w 2749153"/>
              <a:gd name="connsiteY55" fmla="*/ 2274996 h 3486730"/>
              <a:gd name="connsiteX56" fmla="*/ 1676313 w 2749153"/>
              <a:gd name="connsiteY56" fmla="*/ 2260627 h 3486730"/>
              <a:gd name="connsiteX57" fmla="*/ 1836760 w 2749153"/>
              <a:gd name="connsiteY57" fmla="*/ 2222312 h 3486730"/>
              <a:gd name="connsiteX58" fmla="*/ 1982839 w 2749153"/>
              <a:gd name="connsiteY58" fmla="*/ 2157654 h 3486730"/>
              <a:gd name="connsiteX59" fmla="*/ 2116944 w 2749153"/>
              <a:gd name="connsiteY59" fmla="*/ 2073838 h 3486730"/>
              <a:gd name="connsiteX60" fmla="*/ 2234286 w 2749153"/>
              <a:gd name="connsiteY60" fmla="*/ 1973259 h 3486730"/>
              <a:gd name="connsiteX61" fmla="*/ 2337259 w 2749153"/>
              <a:gd name="connsiteY61" fmla="*/ 1851128 h 3486730"/>
              <a:gd name="connsiteX62" fmla="*/ 2423469 w 2749153"/>
              <a:gd name="connsiteY62" fmla="*/ 1719418 h 3486730"/>
              <a:gd name="connsiteX63" fmla="*/ 2483338 w 2749153"/>
              <a:gd name="connsiteY63" fmla="*/ 1568550 h 3486730"/>
              <a:gd name="connsiteX64" fmla="*/ 2521654 w 2749153"/>
              <a:gd name="connsiteY64" fmla="*/ 1410497 h 3486730"/>
              <a:gd name="connsiteX65" fmla="*/ 2536022 w 2749153"/>
              <a:gd name="connsiteY65" fmla="*/ 1245261 h 3486730"/>
              <a:gd name="connsiteX66" fmla="*/ 2521654 w 2749153"/>
              <a:gd name="connsiteY66" fmla="*/ 1080024 h 3486730"/>
              <a:gd name="connsiteX67" fmla="*/ 2483338 w 2749153"/>
              <a:gd name="connsiteY67" fmla="*/ 917183 h 3486730"/>
              <a:gd name="connsiteX68" fmla="*/ 2423469 w 2749153"/>
              <a:gd name="connsiteY68" fmla="*/ 771104 h 3486730"/>
              <a:gd name="connsiteX69" fmla="*/ 2337259 w 2749153"/>
              <a:gd name="connsiteY69" fmla="*/ 634604 h 3486730"/>
              <a:gd name="connsiteX70" fmla="*/ 2234286 w 2749153"/>
              <a:gd name="connsiteY70" fmla="*/ 512473 h 3486730"/>
              <a:gd name="connsiteX71" fmla="*/ 2116944 w 2749153"/>
              <a:gd name="connsiteY71" fmla="*/ 409499 h 3486730"/>
              <a:gd name="connsiteX72" fmla="*/ 1982839 w 2749153"/>
              <a:gd name="connsiteY72" fmla="*/ 328078 h 3486730"/>
              <a:gd name="connsiteX73" fmla="*/ 1836760 w 2749153"/>
              <a:gd name="connsiteY73" fmla="*/ 263421 h 3486730"/>
              <a:gd name="connsiteX74" fmla="*/ 1676313 w 2749153"/>
              <a:gd name="connsiteY74" fmla="*/ 225105 h 3486730"/>
              <a:gd name="connsiteX75" fmla="*/ 1511076 w 2749153"/>
              <a:gd name="connsiteY75" fmla="*/ 215526 h 3486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</a:cxnLst>
            <a:rect l="l" t="t" r="r" b="b"/>
            <a:pathLst>
              <a:path w="2749153" h="3486730">
                <a:moveTo>
                  <a:pt x="1511076" y="0"/>
                </a:moveTo>
                <a:lnTo>
                  <a:pt x="1695471" y="14369"/>
                </a:lnTo>
                <a:lnTo>
                  <a:pt x="1870286" y="55079"/>
                </a:lnTo>
                <a:lnTo>
                  <a:pt x="2030733" y="117342"/>
                </a:lnTo>
                <a:lnTo>
                  <a:pt x="2186391" y="201158"/>
                </a:lnTo>
                <a:lnTo>
                  <a:pt x="2322891" y="308921"/>
                </a:lnTo>
                <a:lnTo>
                  <a:pt x="2442627" y="431052"/>
                </a:lnTo>
                <a:lnTo>
                  <a:pt x="2550390" y="567552"/>
                </a:lnTo>
                <a:lnTo>
                  <a:pt x="2631811" y="718420"/>
                </a:lnTo>
                <a:lnTo>
                  <a:pt x="2696469" y="883656"/>
                </a:lnTo>
                <a:lnTo>
                  <a:pt x="2734785" y="1060867"/>
                </a:lnTo>
                <a:lnTo>
                  <a:pt x="2749153" y="1245261"/>
                </a:lnTo>
                <a:lnTo>
                  <a:pt x="2734785" y="1424866"/>
                </a:lnTo>
                <a:lnTo>
                  <a:pt x="2696469" y="1602076"/>
                </a:lnTo>
                <a:lnTo>
                  <a:pt x="2631811" y="1767313"/>
                </a:lnTo>
                <a:lnTo>
                  <a:pt x="2550390" y="1918181"/>
                </a:lnTo>
                <a:lnTo>
                  <a:pt x="2442627" y="2059470"/>
                </a:lnTo>
                <a:lnTo>
                  <a:pt x="2322891" y="2181601"/>
                </a:lnTo>
                <a:lnTo>
                  <a:pt x="2186391" y="2284575"/>
                </a:lnTo>
                <a:lnTo>
                  <a:pt x="2030733" y="2373180"/>
                </a:lnTo>
                <a:lnTo>
                  <a:pt x="1870286" y="2435443"/>
                </a:lnTo>
                <a:lnTo>
                  <a:pt x="1695471" y="2476153"/>
                </a:lnTo>
                <a:lnTo>
                  <a:pt x="1511076" y="2485732"/>
                </a:lnTo>
                <a:lnTo>
                  <a:pt x="601085" y="2485732"/>
                </a:lnTo>
                <a:lnTo>
                  <a:pt x="601077" y="2485731"/>
                </a:lnTo>
                <a:lnTo>
                  <a:pt x="500498" y="2500100"/>
                </a:lnTo>
                <a:lnTo>
                  <a:pt x="407104" y="2538415"/>
                </a:lnTo>
                <a:lnTo>
                  <a:pt x="325683" y="2603073"/>
                </a:lnTo>
                <a:lnTo>
                  <a:pt x="265814" y="2679705"/>
                </a:lnTo>
                <a:lnTo>
                  <a:pt x="222709" y="2777889"/>
                </a:lnTo>
                <a:lnTo>
                  <a:pt x="213130" y="2880862"/>
                </a:lnTo>
                <a:lnTo>
                  <a:pt x="222709" y="2988625"/>
                </a:lnTo>
                <a:lnTo>
                  <a:pt x="265814" y="3079625"/>
                </a:lnTo>
                <a:lnTo>
                  <a:pt x="325683" y="3158651"/>
                </a:lnTo>
                <a:lnTo>
                  <a:pt x="407104" y="3220914"/>
                </a:lnTo>
                <a:lnTo>
                  <a:pt x="500498" y="3261625"/>
                </a:lnTo>
                <a:lnTo>
                  <a:pt x="601077" y="3275993"/>
                </a:lnTo>
                <a:lnTo>
                  <a:pt x="601078" y="3275993"/>
                </a:lnTo>
                <a:lnTo>
                  <a:pt x="601078" y="3486730"/>
                </a:lnTo>
                <a:lnTo>
                  <a:pt x="481341" y="3474756"/>
                </a:lnTo>
                <a:lnTo>
                  <a:pt x="368789" y="3436441"/>
                </a:lnTo>
                <a:lnTo>
                  <a:pt x="265816" y="3383757"/>
                </a:lnTo>
                <a:lnTo>
                  <a:pt x="179605" y="3309520"/>
                </a:lnTo>
                <a:lnTo>
                  <a:pt x="100579" y="3216125"/>
                </a:lnTo>
                <a:lnTo>
                  <a:pt x="47895" y="3115547"/>
                </a:lnTo>
                <a:lnTo>
                  <a:pt x="14369" y="3002994"/>
                </a:lnTo>
                <a:lnTo>
                  <a:pt x="0" y="2880863"/>
                </a:lnTo>
                <a:lnTo>
                  <a:pt x="14369" y="2758732"/>
                </a:lnTo>
                <a:lnTo>
                  <a:pt x="47895" y="2646179"/>
                </a:lnTo>
                <a:lnTo>
                  <a:pt x="100579" y="2543206"/>
                </a:lnTo>
                <a:lnTo>
                  <a:pt x="179605" y="2449811"/>
                </a:lnTo>
                <a:lnTo>
                  <a:pt x="265816" y="2377969"/>
                </a:lnTo>
                <a:lnTo>
                  <a:pt x="368789" y="2322890"/>
                </a:lnTo>
                <a:lnTo>
                  <a:pt x="481341" y="2284575"/>
                </a:lnTo>
                <a:lnTo>
                  <a:pt x="601078" y="2274996"/>
                </a:lnTo>
                <a:lnTo>
                  <a:pt x="1511076" y="2274996"/>
                </a:lnTo>
                <a:lnTo>
                  <a:pt x="1676313" y="2260627"/>
                </a:lnTo>
                <a:lnTo>
                  <a:pt x="1836760" y="2222312"/>
                </a:lnTo>
                <a:lnTo>
                  <a:pt x="1982839" y="2157654"/>
                </a:lnTo>
                <a:lnTo>
                  <a:pt x="2116944" y="2073838"/>
                </a:lnTo>
                <a:lnTo>
                  <a:pt x="2234286" y="1973259"/>
                </a:lnTo>
                <a:lnTo>
                  <a:pt x="2337259" y="1851128"/>
                </a:lnTo>
                <a:lnTo>
                  <a:pt x="2423469" y="1719418"/>
                </a:lnTo>
                <a:lnTo>
                  <a:pt x="2483338" y="1568550"/>
                </a:lnTo>
                <a:lnTo>
                  <a:pt x="2521654" y="1410497"/>
                </a:lnTo>
                <a:lnTo>
                  <a:pt x="2536022" y="1245261"/>
                </a:lnTo>
                <a:lnTo>
                  <a:pt x="2521654" y="1080024"/>
                </a:lnTo>
                <a:lnTo>
                  <a:pt x="2483338" y="917183"/>
                </a:lnTo>
                <a:lnTo>
                  <a:pt x="2423469" y="771104"/>
                </a:lnTo>
                <a:lnTo>
                  <a:pt x="2337259" y="634604"/>
                </a:lnTo>
                <a:lnTo>
                  <a:pt x="2234286" y="512473"/>
                </a:lnTo>
                <a:lnTo>
                  <a:pt x="2116944" y="409499"/>
                </a:lnTo>
                <a:lnTo>
                  <a:pt x="1982839" y="328078"/>
                </a:lnTo>
                <a:lnTo>
                  <a:pt x="1836760" y="263421"/>
                </a:lnTo>
                <a:lnTo>
                  <a:pt x="1676313" y="225105"/>
                </a:lnTo>
                <a:lnTo>
                  <a:pt x="1511076" y="215526"/>
                </a:lnTo>
                <a:close/>
              </a:path>
            </a:pathLst>
          </a:custGeom>
          <a:solidFill>
            <a:schemeClr val="accent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>
              <a:ea typeface="微软雅黑" panose="020B0503020204020204" pitchFamily="34" charset="-122"/>
            </a:endParaRPr>
          </a:p>
        </p:txBody>
      </p:sp>
      <p:sp>
        <p:nvSpPr>
          <p:cNvPr id="7" name="Freeform 16"/>
          <p:cNvSpPr>
            <a:spLocks/>
          </p:cNvSpPr>
          <p:nvPr/>
        </p:nvSpPr>
        <p:spPr bwMode="auto">
          <a:xfrm>
            <a:off x="3182096" y="1345332"/>
            <a:ext cx="2746760" cy="3484336"/>
          </a:xfrm>
          <a:custGeom>
            <a:avLst/>
            <a:gdLst>
              <a:gd name="T0" fmla="*/ 788 w 1147"/>
              <a:gd name="T1" fmla="*/ 4 h 1455"/>
              <a:gd name="T2" fmla="*/ 916 w 1147"/>
              <a:gd name="T3" fmla="*/ 47 h 1455"/>
              <a:gd name="T4" fmla="*/ 1021 w 1147"/>
              <a:gd name="T5" fmla="*/ 124 h 1455"/>
              <a:gd name="T6" fmla="*/ 1100 w 1147"/>
              <a:gd name="T7" fmla="*/ 232 h 1455"/>
              <a:gd name="T8" fmla="*/ 1141 w 1147"/>
              <a:gd name="T9" fmla="*/ 361 h 1455"/>
              <a:gd name="T10" fmla="*/ 1141 w 1147"/>
              <a:gd name="T11" fmla="*/ 499 h 1455"/>
              <a:gd name="T12" fmla="*/ 1100 w 1147"/>
              <a:gd name="T13" fmla="*/ 628 h 1455"/>
              <a:gd name="T14" fmla="*/ 1021 w 1147"/>
              <a:gd name="T15" fmla="*/ 734 h 1455"/>
              <a:gd name="T16" fmla="*/ 916 w 1147"/>
              <a:gd name="T17" fmla="*/ 811 h 1455"/>
              <a:gd name="T18" fmla="*/ 788 w 1147"/>
              <a:gd name="T19" fmla="*/ 854 h 1455"/>
              <a:gd name="T20" fmla="*/ 339 w 1147"/>
              <a:gd name="T21" fmla="*/ 860 h 1455"/>
              <a:gd name="T22" fmla="*/ 242 w 1147"/>
              <a:gd name="T23" fmla="*/ 880 h 1455"/>
              <a:gd name="T24" fmla="*/ 163 w 1147"/>
              <a:gd name="T25" fmla="*/ 933 h 1455"/>
              <a:gd name="T26" fmla="*/ 108 w 1147"/>
              <a:gd name="T27" fmla="*/ 1015 h 1455"/>
              <a:gd name="T28" fmla="*/ 88 w 1147"/>
              <a:gd name="T29" fmla="*/ 1113 h 1455"/>
              <a:gd name="T30" fmla="*/ 108 w 1147"/>
              <a:gd name="T31" fmla="*/ 1211 h 1455"/>
              <a:gd name="T32" fmla="*/ 163 w 1147"/>
              <a:gd name="T33" fmla="*/ 1292 h 1455"/>
              <a:gd name="T34" fmla="*/ 242 w 1147"/>
              <a:gd name="T35" fmla="*/ 1345 h 1455"/>
              <a:gd name="T36" fmla="*/ 339 w 1147"/>
              <a:gd name="T37" fmla="*/ 1366 h 1455"/>
              <a:gd name="T38" fmla="*/ 278 w 1147"/>
              <a:gd name="T39" fmla="*/ 1449 h 1455"/>
              <a:gd name="T40" fmla="*/ 169 w 1147"/>
              <a:gd name="T41" fmla="*/ 1408 h 1455"/>
              <a:gd name="T42" fmla="*/ 80 w 1147"/>
              <a:gd name="T43" fmla="*/ 1333 h 1455"/>
              <a:gd name="T44" fmla="*/ 21 w 1147"/>
              <a:gd name="T45" fmla="*/ 1233 h 1455"/>
              <a:gd name="T46" fmla="*/ 0 w 1147"/>
              <a:gd name="T47" fmla="*/ 1113 h 1455"/>
              <a:gd name="T48" fmla="*/ 21 w 1147"/>
              <a:gd name="T49" fmla="*/ 995 h 1455"/>
              <a:gd name="T50" fmla="*/ 80 w 1147"/>
              <a:gd name="T51" fmla="*/ 893 h 1455"/>
              <a:gd name="T52" fmla="*/ 169 w 1147"/>
              <a:gd name="T53" fmla="*/ 817 h 1455"/>
              <a:gd name="T54" fmla="*/ 278 w 1147"/>
              <a:gd name="T55" fmla="*/ 776 h 1455"/>
              <a:gd name="T56" fmla="*/ 719 w 1147"/>
              <a:gd name="T57" fmla="*/ 770 h 1455"/>
              <a:gd name="T58" fmla="*/ 838 w 1147"/>
              <a:gd name="T59" fmla="*/ 750 h 1455"/>
              <a:gd name="T60" fmla="*/ 938 w 1147"/>
              <a:gd name="T61" fmla="*/ 691 h 1455"/>
              <a:gd name="T62" fmla="*/ 1013 w 1147"/>
              <a:gd name="T63" fmla="*/ 601 h 1455"/>
              <a:gd name="T64" fmla="*/ 1054 w 1147"/>
              <a:gd name="T65" fmla="*/ 491 h 1455"/>
              <a:gd name="T66" fmla="*/ 1054 w 1147"/>
              <a:gd name="T67" fmla="*/ 369 h 1455"/>
              <a:gd name="T68" fmla="*/ 1013 w 1147"/>
              <a:gd name="T69" fmla="*/ 257 h 1455"/>
              <a:gd name="T70" fmla="*/ 938 w 1147"/>
              <a:gd name="T71" fmla="*/ 169 h 1455"/>
              <a:gd name="T72" fmla="*/ 838 w 1147"/>
              <a:gd name="T73" fmla="*/ 110 h 1455"/>
              <a:gd name="T74" fmla="*/ 719 w 1147"/>
              <a:gd name="T75" fmla="*/ 88 h 14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147" h="1455">
                <a:moveTo>
                  <a:pt x="719" y="0"/>
                </a:moveTo>
                <a:lnTo>
                  <a:pt x="788" y="4"/>
                </a:lnTo>
                <a:lnTo>
                  <a:pt x="855" y="20"/>
                </a:lnTo>
                <a:lnTo>
                  <a:pt x="916" y="47"/>
                </a:lnTo>
                <a:lnTo>
                  <a:pt x="972" y="81"/>
                </a:lnTo>
                <a:lnTo>
                  <a:pt x="1021" y="124"/>
                </a:lnTo>
                <a:lnTo>
                  <a:pt x="1064" y="175"/>
                </a:lnTo>
                <a:lnTo>
                  <a:pt x="1100" y="232"/>
                </a:lnTo>
                <a:lnTo>
                  <a:pt x="1125" y="293"/>
                </a:lnTo>
                <a:lnTo>
                  <a:pt x="1141" y="361"/>
                </a:lnTo>
                <a:lnTo>
                  <a:pt x="1147" y="430"/>
                </a:lnTo>
                <a:lnTo>
                  <a:pt x="1141" y="499"/>
                </a:lnTo>
                <a:lnTo>
                  <a:pt x="1125" y="565"/>
                </a:lnTo>
                <a:lnTo>
                  <a:pt x="1100" y="628"/>
                </a:lnTo>
                <a:lnTo>
                  <a:pt x="1064" y="683"/>
                </a:lnTo>
                <a:lnTo>
                  <a:pt x="1021" y="734"/>
                </a:lnTo>
                <a:lnTo>
                  <a:pt x="972" y="776"/>
                </a:lnTo>
                <a:lnTo>
                  <a:pt x="916" y="811"/>
                </a:lnTo>
                <a:lnTo>
                  <a:pt x="855" y="838"/>
                </a:lnTo>
                <a:lnTo>
                  <a:pt x="788" y="854"/>
                </a:lnTo>
                <a:lnTo>
                  <a:pt x="719" y="860"/>
                </a:lnTo>
                <a:lnTo>
                  <a:pt x="339" y="860"/>
                </a:lnTo>
                <a:lnTo>
                  <a:pt x="289" y="864"/>
                </a:lnTo>
                <a:lnTo>
                  <a:pt x="242" y="880"/>
                </a:lnTo>
                <a:lnTo>
                  <a:pt x="199" y="903"/>
                </a:lnTo>
                <a:lnTo>
                  <a:pt x="163" y="933"/>
                </a:lnTo>
                <a:lnTo>
                  <a:pt x="130" y="972"/>
                </a:lnTo>
                <a:lnTo>
                  <a:pt x="108" y="1015"/>
                </a:lnTo>
                <a:lnTo>
                  <a:pt x="94" y="1062"/>
                </a:lnTo>
                <a:lnTo>
                  <a:pt x="88" y="1113"/>
                </a:lnTo>
                <a:lnTo>
                  <a:pt x="94" y="1164"/>
                </a:lnTo>
                <a:lnTo>
                  <a:pt x="108" y="1211"/>
                </a:lnTo>
                <a:lnTo>
                  <a:pt x="130" y="1253"/>
                </a:lnTo>
                <a:lnTo>
                  <a:pt x="163" y="1292"/>
                </a:lnTo>
                <a:lnTo>
                  <a:pt x="199" y="1323"/>
                </a:lnTo>
                <a:lnTo>
                  <a:pt x="242" y="1345"/>
                </a:lnTo>
                <a:lnTo>
                  <a:pt x="289" y="1361"/>
                </a:lnTo>
                <a:lnTo>
                  <a:pt x="339" y="1366"/>
                </a:lnTo>
                <a:lnTo>
                  <a:pt x="339" y="1455"/>
                </a:lnTo>
                <a:lnTo>
                  <a:pt x="278" y="1449"/>
                </a:lnTo>
                <a:lnTo>
                  <a:pt x="222" y="1433"/>
                </a:lnTo>
                <a:lnTo>
                  <a:pt x="169" y="1408"/>
                </a:lnTo>
                <a:lnTo>
                  <a:pt x="120" y="1374"/>
                </a:lnTo>
                <a:lnTo>
                  <a:pt x="80" y="1333"/>
                </a:lnTo>
                <a:lnTo>
                  <a:pt x="45" y="1286"/>
                </a:lnTo>
                <a:lnTo>
                  <a:pt x="21" y="1233"/>
                </a:lnTo>
                <a:lnTo>
                  <a:pt x="4" y="1174"/>
                </a:lnTo>
                <a:lnTo>
                  <a:pt x="0" y="1113"/>
                </a:lnTo>
                <a:lnTo>
                  <a:pt x="4" y="1052"/>
                </a:lnTo>
                <a:lnTo>
                  <a:pt x="21" y="995"/>
                </a:lnTo>
                <a:lnTo>
                  <a:pt x="45" y="940"/>
                </a:lnTo>
                <a:lnTo>
                  <a:pt x="80" y="893"/>
                </a:lnTo>
                <a:lnTo>
                  <a:pt x="120" y="852"/>
                </a:lnTo>
                <a:lnTo>
                  <a:pt x="169" y="817"/>
                </a:lnTo>
                <a:lnTo>
                  <a:pt x="222" y="793"/>
                </a:lnTo>
                <a:lnTo>
                  <a:pt x="278" y="776"/>
                </a:lnTo>
                <a:lnTo>
                  <a:pt x="339" y="770"/>
                </a:lnTo>
                <a:lnTo>
                  <a:pt x="719" y="770"/>
                </a:lnTo>
                <a:lnTo>
                  <a:pt x="780" y="766"/>
                </a:lnTo>
                <a:lnTo>
                  <a:pt x="838" y="750"/>
                </a:lnTo>
                <a:lnTo>
                  <a:pt x="891" y="726"/>
                </a:lnTo>
                <a:lnTo>
                  <a:pt x="938" y="691"/>
                </a:lnTo>
                <a:lnTo>
                  <a:pt x="978" y="650"/>
                </a:lnTo>
                <a:lnTo>
                  <a:pt x="1013" y="601"/>
                </a:lnTo>
                <a:lnTo>
                  <a:pt x="1037" y="548"/>
                </a:lnTo>
                <a:lnTo>
                  <a:pt x="1054" y="491"/>
                </a:lnTo>
                <a:lnTo>
                  <a:pt x="1060" y="430"/>
                </a:lnTo>
                <a:lnTo>
                  <a:pt x="1054" y="369"/>
                </a:lnTo>
                <a:lnTo>
                  <a:pt x="1037" y="310"/>
                </a:lnTo>
                <a:lnTo>
                  <a:pt x="1013" y="257"/>
                </a:lnTo>
                <a:lnTo>
                  <a:pt x="978" y="210"/>
                </a:lnTo>
                <a:lnTo>
                  <a:pt x="938" y="169"/>
                </a:lnTo>
                <a:lnTo>
                  <a:pt x="891" y="134"/>
                </a:lnTo>
                <a:lnTo>
                  <a:pt x="838" y="110"/>
                </a:lnTo>
                <a:lnTo>
                  <a:pt x="780" y="94"/>
                </a:lnTo>
                <a:lnTo>
                  <a:pt x="719" y="88"/>
                </a:lnTo>
                <a:lnTo>
                  <a:pt x="719" y="0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ea typeface="微软雅黑" panose="020B0503020204020204" pitchFamily="34" charset="-122"/>
            </a:endParaRPr>
          </a:p>
        </p:txBody>
      </p:sp>
      <p:sp>
        <p:nvSpPr>
          <p:cNvPr id="8" name="Freeform 17"/>
          <p:cNvSpPr>
            <a:spLocks/>
          </p:cNvSpPr>
          <p:nvPr/>
        </p:nvSpPr>
        <p:spPr bwMode="auto">
          <a:xfrm>
            <a:off x="2968964" y="1556069"/>
            <a:ext cx="2751549" cy="3484336"/>
          </a:xfrm>
          <a:custGeom>
            <a:avLst/>
            <a:gdLst>
              <a:gd name="T0" fmla="*/ 869 w 1149"/>
              <a:gd name="T1" fmla="*/ 6 h 1455"/>
              <a:gd name="T2" fmla="*/ 980 w 1149"/>
              <a:gd name="T3" fmla="*/ 46 h 1455"/>
              <a:gd name="T4" fmla="*/ 1067 w 1149"/>
              <a:gd name="T5" fmla="*/ 122 h 1455"/>
              <a:gd name="T6" fmla="*/ 1126 w 1149"/>
              <a:gd name="T7" fmla="*/ 222 h 1455"/>
              <a:gd name="T8" fmla="*/ 1149 w 1149"/>
              <a:gd name="T9" fmla="*/ 342 h 1455"/>
              <a:gd name="T10" fmla="*/ 1126 w 1149"/>
              <a:gd name="T11" fmla="*/ 460 h 1455"/>
              <a:gd name="T12" fmla="*/ 1067 w 1149"/>
              <a:gd name="T13" fmla="*/ 562 h 1455"/>
              <a:gd name="T14" fmla="*/ 980 w 1149"/>
              <a:gd name="T15" fmla="*/ 638 h 1455"/>
              <a:gd name="T16" fmla="*/ 869 w 1149"/>
              <a:gd name="T17" fmla="*/ 678 h 1455"/>
              <a:gd name="T18" fmla="*/ 428 w 1149"/>
              <a:gd name="T19" fmla="*/ 682 h 1455"/>
              <a:gd name="T20" fmla="*/ 311 w 1149"/>
              <a:gd name="T21" fmla="*/ 705 h 1455"/>
              <a:gd name="T22" fmla="*/ 209 w 1149"/>
              <a:gd name="T23" fmla="*/ 764 h 1455"/>
              <a:gd name="T24" fmla="*/ 134 w 1149"/>
              <a:gd name="T25" fmla="*/ 852 h 1455"/>
              <a:gd name="T26" fmla="*/ 93 w 1149"/>
              <a:gd name="T27" fmla="*/ 964 h 1455"/>
              <a:gd name="T28" fmla="*/ 93 w 1149"/>
              <a:gd name="T29" fmla="*/ 1086 h 1455"/>
              <a:gd name="T30" fmla="*/ 134 w 1149"/>
              <a:gd name="T31" fmla="*/ 1198 h 1455"/>
              <a:gd name="T32" fmla="*/ 209 w 1149"/>
              <a:gd name="T33" fmla="*/ 1286 h 1455"/>
              <a:gd name="T34" fmla="*/ 311 w 1149"/>
              <a:gd name="T35" fmla="*/ 1345 h 1455"/>
              <a:gd name="T36" fmla="*/ 428 w 1149"/>
              <a:gd name="T37" fmla="*/ 1367 h 1455"/>
              <a:gd name="T38" fmla="*/ 359 w 1149"/>
              <a:gd name="T39" fmla="*/ 1449 h 1455"/>
              <a:gd name="T40" fmla="*/ 231 w 1149"/>
              <a:gd name="T41" fmla="*/ 1408 h 1455"/>
              <a:gd name="T42" fmla="*/ 126 w 1149"/>
              <a:gd name="T43" fmla="*/ 1328 h 1455"/>
              <a:gd name="T44" fmla="*/ 49 w 1149"/>
              <a:gd name="T45" fmla="*/ 1222 h 1455"/>
              <a:gd name="T46" fmla="*/ 6 w 1149"/>
              <a:gd name="T47" fmla="*/ 1094 h 1455"/>
              <a:gd name="T48" fmla="*/ 6 w 1149"/>
              <a:gd name="T49" fmla="*/ 955 h 1455"/>
              <a:gd name="T50" fmla="*/ 49 w 1149"/>
              <a:gd name="T51" fmla="*/ 827 h 1455"/>
              <a:gd name="T52" fmla="*/ 126 w 1149"/>
              <a:gd name="T53" fmla="*/ 721 h 1455"/>
              <a:gd name="T54" fmla="*/ 231 w 1149"/>
              <a:gd name="T55" fmla="*/ 642 h 1455"/>
              <a:gd name="T56" fmla="*/ 359 w 1149"/>
              <a:gd name="T57" fmla="*/ 601 h 1455"/>
              <a:gd name="T58" fmla="*/ 808 w 1149"/>
              <a:gd name="T59" fmla="*/ 595 h 1455"/>
              <a:gd name="T60" fmla="*/ 905 w 1149"/>
              <a:gd name="T61" fmla="*/ 574 h 1455"/>
              <a:gd name="T62" fmla="*/ 986 w 1149"/>
              <a:gd name="T63" fmla="*/ 519 h 1455"/>
              <a:gd name="T64" fmla="*/ 1039 w 1149"/>
              <a:gd name="T65" fmla="*/ 440 h 1455"/>
              <a:gd name="T66" fmla="*/ 1059 w 1149"/>
              <a:gd name="T67" fmla="*/ 342 h 1455"/>
              <a:gd name="T68" fmla="*/ 1039 w 1149"/>
              <a:gd name="T69" fmla="*/ 242 h 1455"/>
              <a:gd name="T70" fmla="*/ 986 w 1149"/>
              <a:gd name="T71" fmla="*/ 163 h 1455"/>
              <a:gd name="T72" fmla="*/ 905 w 1149"/>
              <a:gd name="T73" fmla="*/ 108 h 1455"/>
              <a:gd name="T74" fmla="*/ 808 w 1149"/>
              <a:gd name="T75" fmla="*/ 89 h 14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149" h="1455">
                <a:moveTo>
                  <a:pt x="808" y="0"/>
                </a:moveTo>
                <a:lnTo>
                  <a:pt x="869" y="6"/>
                </a:lnTo>
                <a:lnTo>
                  <a:pt x="927" y="22"/>
                </a:lnTo>
                <a:lnTo>
                  <a:pt x="980" y="46"/>
                </a:lnTo>
                <a:lnTo>
                  <a:pt x="1027" y="81"/>
                </a:lnTo>
                <a:lnTo>
                  <a:pt x="1067" y="122"/>
                </a:lnTo>
                <a:lnTo>
                  <a:pt x="1102" y="169"/>
                </a:lnTo>
                <a:lnTo>
                  <a:pt x="1126" y="222"/>
                </a:lnTo>
                <a:lnTo>
                  <a:pt x="1143" y="281"/>
                </a:lnTo>
                <a:lnTo>
                  <a:pt x="1149" y="342"/>
                </a:lnTo>
                <a:lnTo>
                  <a:pt x="1143" y="403"/>
                </a:lnTo>
                <a:lnTo>
                  <a:pt x="1126" y="460"/>
                </a:lnTo>
                <a:lnTo>
                  <a:pt x="1102" y="513"/>
                </a:lnTo>
                <a:lnTo>
                  <a:pt x="1067" y="562"/>
                </a:lnTo>
                <a:lnTo>
                  <a:pt x="1027" y="603"/>
                </a:lnTo>
                <a:lnTo>
                  <a:pt x="980" y="638"/>
                </a:lnTo>
                <a:lnTo>
                  <a:pt x="927" y="662"/>
                </a:lnTo>
                <a:lnTo>
                  <a:pt x="869" y="678"/>
                </a:lnTo>
                <a:lnTo>
                  <a:pt x="808" y="682"/>
                </a:lnTo>
                <a:lnTo>
                  <a:pt x="428" y="682"/>
                </a:lnTo>
                <a:lnTo>
                  <a:pt x="367" y="688"/>
                </a:lnTo>
                <a:lnTo>
                  <a:pt x="311" y="705"/>
                </a:lnTo>
                <a:lnTo>
                  <a:pt x="258" y="729"/>
                </a:lnTo>
                <a:lnTo>
                  <a:pt x="209" y="764"/>
                </a:lnTo>
                <a:lnTo>
                  <a:pt x="169" y="805"/>
                </a:lnTo>
                <a:lnTo>
                  <a:pt x="134" y="852"/>
                </a:lnTo>
                <a:lnTo>
                  <a:pt x="110" y="907"/>
                </a:lnTo>
                <a:lnTo>
                  <a:pt x="93" y="964"/>
                </a:lnTo>
                <a:lnTo>
                  <a:pt x="89" y="1025"/>
                </a:lnTo>
                <a:lnTo>
                  <a:pt x="93" y="1086"/>
                </a:lnTo>
                <a:lnTo>
                  <a:pt x="110" y="1145"/>
                </a:lnTo>
                <a:lnTo>
                  <a:pt x="134" y="1198"/>
                </a:lnTo>
                <a:lnTo>
                  <a:pt x="169" y="1245"/>
                </a:lnTo>
                <a:lnTo>
                  <a:pt x="209" y="1286"/>
                </a:lnTo>
                <a:lnTo>
                  <a:pt x="258" y="1320"/>
                </a:lnTo>
                <a:lnTo>
                  <a:pt x="311" y="1345"/>
                </a:lnTo>
                <a:lnTo>
                  <a:pt x="367" y="1361"/>
                </a:lnTo>
                <a:lnTo>
                  <a:pt x="428" y="1367"/>
                </a:lnTo>
                <a:lnTo>
                  <a:pt x="428" y="1455"/>
                </a:lnTo>
                <a:lnTo>
                  <a:pt x="359" y="1449"/>
                </a:lnTo>
                <a:lnTo>
                  <a:pt x="294" y="1432"/>
                </a:lnTo>
                <a:lnTo>
                  <a:pt x="231" y="1408"/>
                </a:lnTo>
                <a:lnTo>
                  <a:pt x="177" y="1371"/>
                </a:lnTo>
                <a:lnTo>
                  <a:pt x="126" y="1328"/>
                </a:lnTo>
                <a:lnTo>
                  <a:pt x="83" y="1280"/>
                </a:lnTo>
                <a:lnTo>
                  <a:pt x="49" y="1222"/>
                </a:lnTo>
                <a:lnTo>
                  <a:pt x="22" y="1161"/>
                </a:lnTo>
                <a:lnTo>
                  <a:pt x="6" y="1094"/>
                </a:lnTo>
                <a:lnTo>
                  <a:pt x="0" y="1025"/>
                </a:lnTo>
                <a:lnTo>
                  <a:pt x="6" y="955"/>
                </a:lnTo>
                <a:lnTo>
                  <a:pt x="22" y="888"/>
                </a:lnTo>
                <a:lnTo>
                  <a:pt x="49" y="827"/>
                </a:lnTo>
                <a:lnTo>
                  <a:pt x="83" y="770"/>
                </a:lnTo>
                <a:lnTo>
                  <a:pt x="126" y="721"/>
                </a:lnTo>
                <a:lnTo>
                  <a:pt x="177" y="678"/>
                </a:lnTo>
                <a:lnTo>
                  <a:pt x="231" y="642"/>
                </a:lnTo>
                <a:lnTo>
                  <a:pt x="294" y="617"/>
                </a:lnTo>
                <a:lnTo>
                  <a:pt x="359" y="601"/>
                </a:lnTo>
                <a:lnTo>
                  <a:pt x="428" y="595"/>
                </a:lnTo>
                <a:lnTo>
                  <a:pt x="808" y="595"/>
                </a:lnTo>
                <a:lnTo>
                  <a:pt x="858" y="589"/>
                </a:lnTo>
                <a:lnTo>
                  <a:pt x="905" y="574"/>
                </a:lnTo>
                <a:lnTo>
                  <a:pt x="948" y="552"/>
                </a:lnTo>
                <a:lnTo>
                  <a:pt x="986" y="519"/>
                </a:lnTo>
                <a:lnTo>
                  <a:pt x="1017" y="483"/>
                </a:lnTo>
                <a:lnTo>
                  <a:pt x="1039" y="440"/>
                </a:lnTo>
                <a:lnTo>
                  <a:pt x="1055" y="393"/>
                </a:lnTo>
                <a:lnTo>
                  <a:pt x="1059" y="342"/>
                </a:lnTo>
                <a:lnTo>
                  <a:pt x="1055" y="291"/>
                </a:lnTo>
                <a:lnTo>
                  <a:pt x="1039" y="242"/>
                </a:lnTo>
                <a:lnTo>
                  <a:pt x="1017" y="199"/>
                </a:lnTo>
                <a:lnTo>
                  <a:pt x="986" y="163"/>
                </a:lnTo>
                <a:lnTo>
                  <a:pt x="948" y="132"/>
                </a:lnTo>
                <a:lnTo>
                  <a:pt x="905" y="108"/>
                </a:lnTo>
                <a:lnTo>
                  <a:pt x="858" y="93"/>
                </a:lnTo>
                <a:lnTo>
                  <a:pt x="808" y="89"/>
                </a:lnTo>
                <a:lnTo>
                  <a:pt x="808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ea typeface="微软雅黑" panose="020B0503020204020204" pitchFamily="34" charset="-122"/>
            </a:endParaRPr>
          </a:p>
        </p:txBody>
      </p:sp>
      <p:sp>
        <p:nvSpPr>
          <p:cNvPr id="9" name="任意多边形 8"/>
          <p:cNvSpPr>
            <a:spLocks/>
          </p:cNvSpPr>
          <p:nvPr/>
        </p:nvSpPr>
        <p:spPr bwMode="auto">
          <a:xfrm>
            <a:off x="2760623" y="1769201"/>
            <a:ext cx="2744364" cy="3486730"/>
          </a:xfrm>
          <a:custGeom>
            <a:avLst/>
            <a:gdLst>
              <a:gd name="connsiteX0" fmla="*/ 2143286 w 2744364"/>
              <a:gd name="connsiteY0" fmla="*/ 0 h 3486730"/>
              <a:gd name="connsiteX1" fmla="*/ 2263023 w 2744364"/>
              <a:gd name="connsiteY1" fmla="*/ 9579 h 3486730"/>
              <a:gd name="connsiteX2" fmla="*/ 2375575 w 2744364"/>
              <a:gd name="connsiteY2" fmla="*/ 50290 h 3486730"/>
              <a:gd name="connsiteX3" fmla="*/ 2478549 w 2744364"/>
              <a:gd name="connsiteY3" fmla="*/ 102974 h 3486730"/>
              <a:gd name="connsiteX4" fmla="*/ 2569549 w 2744364"/>
              <a:gd name="connsiteY4" fmla="*/ 177210 h 3486730"/>
              <a:gd name="connsiteX5" fmla="*/ 2643785 w 2744364"/>
              <a:gd name="connsiteY5" fmla="*/ 268210 h 3486730"/>
              <a:gd name="connsiteX6" fmla="*/ 2696469 w 2744364"/>
              <a:gd name="connsiteY6" fmla="*/ 371184 h 3486730"/>
              <a:gd name="connsiteX7" fmla="*/ 2734785 w 2744364"/>
              <a:gd name="connsiteY7" fmla="*/ 483736 h 3486730"/>
              <a:gd name="connsiteX8" fmla="*/ 2744364 w 2744364"/>
              <a:gd name="connsiteY8" fmla="*/ 605867 h 3486730"/>
              <a:gd name="connsiteX9" fmla="*/ 2734785 w 2744364"/>
              <a:gd name="connsiteY9" fmla="*/ 727999 h 3486730"/>
              <a:gd name="connsiteX10" fmla="*/ 2696469 w 2744364"/>
              <a:gd name="connsiteY10" fmla="*/ 840551 h 3486730"/>
              <a:gd name="connsiteX11" fmla="*/ 2643785 w 2744364"/>
              <a:gd name="connsiteY11" fmla="*/ 943525 h 3486730"/>
              <a:gd name="connsiteX12" fmla="*/ 2569549 w 2744364"/>
              <a:gd name="connsiteY12" fmla="*/ 1034524 h 3486730"/>
              <a:gd name="connsiteX13" fmla="*/ 2478549 w 2744364"/>
              <a:gd name="connsiteY13" fmla="*/ 1108761 h 3486730"/>
              <a:gd name="connsiteX14" fmla="*/ 2375575 w 2744364"/>
              <a:gd name="connsiteY14" fmla="*/ 1161445 h 3486730"/>
              <a:gd name="connsiteX15" fmla="*/ 2263023 w 2744364"/>
              <a:gd name="connsiteY15" fmla="*/ 1197366 h 3486730"/>
              <a:gd name="connsiteX16" fmla="*/ 2143286 w 2744364"/>
              <a:gd name="connsiteY16" fmla="*/ 1211735 h 3486730"/>
              <a:gd name="connsiteX17" fmla="*/ 1233288 w 2744364"/>
              <a:gd name="connsiteY17" fmla="*/ 1211735 h 3486730"/>
              <a:gd name="connsiteX18" fmla="*/ 1068051 w 2744364"/>
              <a:gd name="connsiteY18" fmla="*/ 1226103 h 3486730"/>
              <a:gd name="connsiteX19" fmla="*/ 912393 w 2744364"/>
              <a:gd name="connsiteY19" fmla="*/ 1264419 h 3486730"/>
              <a:gd name="connsiteX20" fmla="*/ 761525 w 2744364"/>
              <a:gd name="connsiteY20" fmla="*/ 1329077 h 3486730"/>
              <a:gd name="connsiteX21" fmla="*/ 632210 w 2744364"/>
              <a:gd name="connsiteY21" fmla="*/ 1410497 h 3486730"/>
              <a:gd name="connsiteX22" fmla="*/ 510078 w 2744364"/>
              <a:gd name="connsiteY22" fmla="*/ 1513471 h 3486730"/>
              <a:gd name="connsiteX23" fmla="*/ 407105 w 2744364"/>
              <a:gd name="connsiteY23" fmla="*/ 1630813 h 3486730"/>
              <a:gd name="connsiteX24" fmla="*/ 325684 w 2744364"/>
              <a:gd name="connsiteY24" fmla="*/ 1767313 h 3486730"/>
              <a:gd name="connsiteX25" fmla="*/ 261026 w 2744364"/>
              <a:gd name="connsiteY25" fmla="*/ 1913391 h 3486730"/>
              <a:gd name="connsiteX26" fmla="*/ 222710 w 2744364"/>
              <a:gd name="connsiteY26" fmla="*/ 2073838 h 3486730"/>
              <a:gd name="connsiteX27" fmla="*/ 208342 w 2744364"/>
              <a:gd name="connsiteY27" fmla="*/ 2241469 h 3486730"/>
              <a:gd name="connsiteX28" fmla="*/ 222710 w 2744364"/>
              <a:gd name="connsiteY28" fmla="*/ 2406706 h 3486730"/>
              <a:gd name="connsiteX29" fmla="*/ 261026 w 2744364"/>
              <a:gd name="connsiteY29" fmla="*/ 2567153 h 3486730"/>
              <a:gd name="connsiteX30" fmla="*/ 325684 w 2744364"/>
              <a:gd name="connsiteY30" fmla="*/ 2713232 h 3486730"/>
              <a:gd name="connsiteX31" fmla="*/ 407105 w 2744364"/>
              <a:gd name="connsiteY31" fmla="*/ 2852126 h 3486730"/>
              <a:gd name="connsiteX32" fmla="*/ 510078 w 2744364"/>
              <a:gd name="connsiteY32" fmla="*/ 2967073 h 3486730"/>
              <a:gd name="connsiteX33" fmla="*/ 632210 w 2744364"/>
              <a:gd name="connsiteY33" fmla="*/ 3070047 h 3486730"/>
              <a:gd name="connsiteX34" fmla="*/ 761525 w 2744364"/>
              <a:gd name="connsiteY34" fmla="*/ 3158652 h 3486730"/>
              <a:gd name="connsiteX35" fmla="*/ 912393 w 2744364"/>
              <a:gd name="connsiteY35" fmla="*/ 3216125 h 3486730"/>
              <a:gd name="connsiteX36" fmla="*/ 1068051 w 2744364"/>
              <a:gd name="connsiteY36" fmla="*/ 3256836 h 3486730"/>
              <a:gd name="connsiteX37" fmla="*/ 1233288 w 2744364"/>
              <a:gd name="connsiteY37" fmla="*/ 3271204 h 3486730"/>
              <a:gd name="connsiteX38" fmla="*/ 1233288 w 2744364"/>
              <a:gd name="connsiteY38" fmla="*/ 3486730 h 3486730"/>
              <a:gd name="connsiteX39" fmla="*/ 1053683 w 2744364"/>
              <a:gd name="connsiteY39" fmla="*/ 3469967 h 3486730"/>
              <a:gd name="connsiteX40" fmla="*/ 878867 w 2744364"/>
              <a:gd name="connsiteY40" fmla="*/ 3431651 h 3486730"/>
              <a:gd name="connsiteX41" fmla="*/ 713631 w 2744364"/>
              <a:gd name="connsiteY41" fmla="*/ 3369388 h 3486730"/>
              <a:gd name="connsiteX42" fmla="*/ 562762 w 2744364"/>
              <a:gd name="connsiteY42" fmla="*/ 3285573 h 3486730"/>
              <a:gd name="connsiteX43" fmla="*/ 421473 w 2744364"/>
              <a:gd name="connsiteY43" fmla="*/ 3177810 h 3486730"/>
              <a:gd name="connsiteX44" fmla="*/ 301737 w 2744364"/>
              <a:gd name="connsiteY44" fmla="*/ 3055678 h 3486730"/>
              <a:gd name="connsiteX45" fmla="*/ 198763 w 2744364"/>
              <a:gd name="connsiteY45" fmla="*/ 2919179 h 3486730"/>
              <a:gd name="connsiteX46" fmla="*/ 112553 w 2744364"/>
              <a:gd name="connsiteY46" fmla="*/ 2763521 h 3486730"/>
              <a:gd name="connsiteX47" fmla="*/ 47895 w 2744364"/>
              <a:gd name="connsiteY47" fmla="*/ 2603074 h 3486730"/>
              <a:gd name="connsiteX48" fmla="*/ 9579 w 2744364"/>
              <a:gd name="connsiteY48" fmla="*/ 2425864 h 3486730"/>
              <a:gd name="connsiteX49" fmla="*/ 0 w 2744364"/>
              <a:gd name="connsiteY49" fmla="*/ 2241469 h 3486730"/>
              <a:gd name="connsiteX50" fmla="*/ 9579 w 2744364"/>
              <a:gd name="connsiteY50" fmla="*/ 2054680 h 3486730"/>
              <a:gd name="connsiteX51" fmla="*/ 47895 w 2744364"/>
              <a:gd name="connsiteY51" fmla="*/ 1884654 h 3486730"/>
              <a:gd name="connsiteX52" fmla="*/ 112553 w 2744364"/>
              <a:gd name="connsiteY52" fmla="*/ 1719418 h 3486730"/>
              <a:gd name="connsiteX53" fmla="*/ 198763 w 2744364"/>
              <a:gd name="connsiteY53" fmla="*/ 1561366 h 3486730"/>
              <a:gd name="connsiteX54" fmla="*/ 301737 w 2744364"/>
              <a:gd name="connsiteY54" fmla="*/ 1424866 h 3486730"/>
              <a:gd name="connsiteX55" fmla="*/ 421473 w 2744364"/>
              <a:gd name="connsiteY55" fmla="*/ 1302734 h 3486730"/>
              <a:gd name="connsiteX56" fmla="*/ 562762 w 2744364"/>
              <a:gd name="connsiteY56" fmla="*/ 1197366 h 3486730"/>
              <a:gd name="connsiteX57" fmla="*/ 713631 w 2744364"/>
              <a:gd name="connsiteY57" fmla="*/ 1113551 h 3486730"/>
              <a:gd name="connsiteX58" fmla="*/ 878867 w 2744364"/>
              <a:gd name="connsiteY58" fmla="*/ 1048893 h 3486730"/>
              <a:gd name="connsiteX59" fmla="*/ 1053683 w 2744364"/>
              <a:gd name="connsiteY59" fmla="*/ 1010577 h 3486730"/>
              <a:gd name="connsiteX60" fmla="*/ 1233288 w 2744364"/>
              <a:gd name="connsiteY60" fmla="*/ 996209 h 3486730"/>
              <a:gd name="connsiteX61" fmla="*/ 2143286 w 2744364"/>
              <a:gd name="connsiteY61" fmla="*/ 996209 h 3486730"/>
              <a:gd name="connsiteX62" fmla="*/ 2143286 w 2744364"/>
              <a:gd name="connsiteY62" fmla="*/ 996208 h 3486730"/>
              <a:gd name="connsiteX63" fmla="*/ 2143287 w 2744364"/>
              <a:gd name="connsiteY63" fmla="*/ 996208 h 3486730"/>
              <a:gd name="connsiteX64" fmla="*/ 2243865 w 2744364"/>
              <a:gd name="connsiteY64" fmla="*/ 986629 h 3486730"/>
              <a:gd name="connsiteX65" fmla="*/ 2342050 w 2744364"/>
              <a:gd name="connsiteY65" fmla="*/ 943524 h 3486730"/>
              <a:gd name="connsiteX66" fmla="*/ 2418681 w 2744364"/>
              <a:gd name="connsiteY66" fmla="*/ 883656 h 3486730"/>
              <a:gd name="connsiteX67" fmla="*/ 2483339 w 2744364"/>
              <a:gd name="connsiteY67" fmla="*/ 802235 h 3486730"/>
              <a:gd name="connsiteX68" fmla="*/ 2521655 w 2744364"/>
              <a:gd name="connsiteY68" fmla="*/ 708840 h 3486730"/>
              <a:gd name="connsiteX69" fmla="*/ 2536023 w 2744364"/>
              <a:gd name="connsiteY69" fmla="*/ 605867 h 3486730"/>
              <a:gd name="connsiteX70" fmla="*/ 2521655 w 2744364"/>
              <a:gd name="connsiteY70" fmla="*/ 498104 h 3486730"/>
              <a:gd name="connsiteX71" fmla="*/ 2483339 w 2744364"/>
              <a:gd name="connsiteY71" fmla="*/ 404709 h 3486730"/>
              <a:gd name="connsiteX72" fmla="*/ 2418681 w 2744364"/>
              <a:gd name="connsiteY72" fmla="*/ 328078 h 3486730"/>
              <a:gd name="connsiteX73" fmla="*/ 2342050 w 2744364"/>
              <a:gd name="connsiteY73" fmla="*/ 263420 h 3486730"/>
              <a:gd name="connsiteX74" fmla="*/ 2243865 w 2744364"/>
              <a:gd name="connsiteY74" fmla="*/ 225105 h 3486730"/>
              <a:gd name="connsiteX75" fmla="*/ 2143287 w 2744364"/>
              <a:gd name="connsiteY75" fmla="*/ 210736 h 3486730"/>
              <a:gd name="connsiteX76" fmla="*/ 2143286 w 2744364"/>
              <a:gd name="connsiteY76" fmla="*/ 210736 h 3486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2744364" h="3486730">
                <a:moveTo>
                  <a:pt x="2143286" y="0"/>
                </a:moveTo>
                <a:lnTo>
                  <a:pt x="2263023" y="9579"/>
                </a:lnTo>
                <a:lnTo>
                  <a:pt x="2375575" y="50290"/>
                </a:lnTo>
                <a:lnTo>
                  <a:pt x="2478549" y="102974"/>
                </a:lnTo>
                <a:lnTo>
                  <a:pt x="2569549" y="177210"/>
                </a:lnTo>
                <a:lnTo>
                  <a:pt x="2643785" y="268210"/>
                </a:lnTo>
                <a:lnTo>
                  <a:pt x="2696469" y="371184"/>
                </a:lnTo>
                <a:lnTo>
                  <a:pt x="2734785" y="483736"/>
                </a:lnTo>
                <a:lnTo>
                  <a:pt x="2744364" y="605867"/>
                </a:lnTo>
                <a:lnTo>
                  <a:pt x="2734785" y="727999"/>
                </a:lnTo>
                <a:lnTo>
                  <a:pt x="2696469" y="840551"/>
                </a:lnTo>
                <a:lnTo>
                  <a:pt x="2643785" y="943525"/>
                </a:lnTo>
                <a:lnTo>
                  <a:pt x="2569549" y="1034524"/>
                </a:lnTo>
                <a:lnTo>
                  <a:pt x="2478549" y="1108761"/>
                </a:lnTo>
                <a:lnTo>
                  <a:pt x="2375575" y="1161445"/>
                </a:lnTo>
                <a:lnTo>
                  <a:pt x="2263023" y="1197366"/>
                </a:lnTo>
                <a:lnTo>
                  <a:pt x="2143286" y="1211735"/>
                </a:lnTo>
                <a:lnTo>
                  <a:pt x="1233288" y="1211735"/>
                </a:lnTo>
                <a:lnTo>
                  <a:pt x="1068051" y="1226103"/>
                </a:lnTo>
                <a:lnTo>
                  <a:pt x="912393" y="1264419"/>
                </a:lnTo>
                <a:lnTo>
                  <a:pt x="761525" y="1329077"/>
                </a:lnTo>
                <a:lnTo>
                  <a:pt x="632210" y="1410497"/>
                </a:lnTo>
                <a:lnTo>
                  <a:pt x="510078" y="1513471"/>
                </a:lnTo>
                <a:lnTo>
                  <a:pt x="407105" y="1630813"/>
                </a:lnTo>
                <a:lnTo>
                  <a:pt x="325684" y="1767313"/>
                </a:lnTo>
                <a:lnTo>
                  <a:pt x="261026" y="1913391"/>
                </a:lnTo>
                <a:lnTo>
                  <a:pt x="222710" y="2073838"/>
                </a:lnTo>
                <a:lnTo>
                  <a:pt x="208342" y="2241469"/>
                </a:lnTo>
                <a:lnTo>
                  <a:pt x="222710" y="2406706"/>
                </a:lnTo>
                <a:lnTo>
                  <a:pt x="261026" y="2567153"/>
                </a:lnTo>
                <a:lnTo>
                  <a:pt x="325684" y="2713232"/>
                </a:lnTo>
                <a:lnTo>
                  <a:pt x="407105" y="2852126"/>
                </a:lnTo>
                <a:lnTo>
                  <a:pt x="510078" y="2967073"/>
                </a:lnTo>
                <a:lnTo>
                  <a:pt x="632210" y="3070047"/>
                </a:lnTo>
                <a:lnTo>
                  <a:pt x="761525" y="3158652"/>
                </a:lnTo>
                <a:lnTo>
                  <a:pt x="912393" y="3216125"/>
                </a:lnTo>
                <a:lnTo>
                  <a:pt x="1068051" y="3256836"/>
                </a:lnTo>
                <a:lnTo>
                  <a:pt x="1233288" y="3271204"/>
                </a:lnTo>
                <a:lnTo>
                  <a:pt x="1233288" y="3486730"/>
                </a:lnTo>
                <a:lnTo>
                  <a:pt x="1053683" y="3469967"/>
                </a:lnTo>
                <a:lnTo>
                  <a:pt x="878867" y="3431651"/>
                </a:lnTo>
                <a:lnTo>
                  <a:pt x="713631" y="3369388"/>
                </a:lnTo>
                <a:lnTo>
                  <a:pt x="562762" y="3285573"/>
                </a:lnTo>
                <a:lnTo>
                  <a:pt x="421473" y="3177810"/>
                </a:lnTo>
                <a:lnTo>
                  <a:pt x="301737" y="3055678"/>
                </a:lnTo>
                <a:lnTo>
                  <a:pt x="198763" y="2919179"/>
                </a:lnTo>
                <a:lnTo>
                  <a:pt x="112553" y="2763521"/>
                </a:lnTo>
                <a:lnTo>
                  <a:pt x="47895" y="2603074"/>
                </a:lnTo>
                <a:lnTo>
                  <a:pt x="9579" y="2425864"/>
                </a:lnTo>
                <a:lnTo>
                  <a:pt x="0" y="2241469"/>
                </a:lnTo>
                <a:lnTo>
                  <a:pt x="9579" y="2054680"/>
                </a:lnTo>
                <a:lnTo>
                  <a:pt x="47895" y="1884654"/>
                </a:lnTo>
                <a:lnTo>
                  <a:pt x="112553" y="1719418"/>
                </a:lnTo>
                <a:lnTo>
                  <a:pt x="198763" y="1561366"/>
                </a:lnTo>
                <a:lnTo>
                  <a:pt x="301737" y="1424866"/>
                </a:lnTo>
                <a:lnTo>
                  <a:pt x="421473" y="1302734"/>
                </a:lnTo>
                <a:lnTo>
                  <a:pt x="562762" y="1197366"/>
                </a:lnTo>
                <a:lnTo>
                  <a:pt x="713631" y="1113551"/>
                </a:lnTo>
                <a:lnTo>
                  <a:pt x="878867" y="1048893"/>
                </a:lnTo>
                <a:lnTo>
                  <a:pt x="1053683" y="1010577"/>
                </a:lnTo>
                <a:lnTo>
                  <a:pt x="1233288" y="996209"/>
                </a:lnTo>
                <a:lnTo>
                  <a:pt x="2143286" y="996209"/>
                </a:lnTo>
                <a:lnTo>
                  <a:pt x="2143286" y="996208"/>
                </a:lnTo>
                <a:lnTo>
                  <a:pt x="2143287" y="996208"/>
                </a:lnTo>
                <a:lnTo>
                  <a:pt x="2243865" y="986629"/>
                </a:lnTo>
                <a:lnTo>
                  <a:pt x="2342050" y="943524"/>
                </a:lnTo>
                <a:lnTo>
                  <a:pt x="2418681" y="883656"/>
                </a:lnTo>
                <a:lnTo>
                  <a:pt x="2483339" y="802235"/>
                </a:lnTo>
                <a:lnTo>
                  <a:pt x="2521655" y="708840"/>
                </a:lnTo>
                <a:lnTo>
                  <a:pt x="2536023" y="605867"/>
                </a:lnTo>
                <a:lnTo>
                  <a:pt x="2521655" y="498104"/>
                </a:lnTo>
                <a:lnTo>
                  <a:pt x="2483339" y="404709"/>
                </a:lnTo>
                <a:lnTo>
                  <a:pt x="2418681" y="328078"/>
                </a:lnTo>
                <a:lnTo>
                  <a:pt x="2342050" y="263420"/>
                </a:lnTo>
                <a:lnTo>
                  <a:pt x="2243865" y="225105"/>
                </a:lnTo>
                <a:lnTo>
                  <a:pt x="2143287" y="210736"/>
                </a:lnTo>
                <a:lnTo>
                  <a:pt x="2143286" y="210736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>
              <a:ea typeface="微软雅黑" panose="020B0503020204020204" pitchFamily="34" charset="-122"/>
            </a:endParaRPr>
          </a:p>
        </p:txBody>
      </p:sp>
      <p:grpSp>
        <p:nvGrpSpPr>
          <p:cNvPr id="10" name="组合 9"/>
          <p:cNvGrpSpPr/>
          <p:nvPr/>
        </p:nvGrpSpPr>
        <p:grpSpPr>
          <a:xfrm>
            <a:off x="3732885" y="2121226"/>
            <a:ext cx="1422471" cy="2152864"/>
            <a:chOff x="5696587" y="2870599"/>
            <a:chExt cx="1422471" cy="2152864"/>
          </a:xfrm>
        </p:grpSpPr>
        <p:grpSp>
          <p:nvGrpSpPr>
            <p:cNvPr id="11" name="组合 10"/>
            <p:cNvGrpSpPr/>
            <p:nvPr/>
          </p:nvGrpSpPr>
          <p:grpSpPr>
            <a:xfrm>
              <a:off x="6604190" y="2870599"/>
              <a:ext cx="514868" cy="517262"/>
              <a:chOff x="6604190" y="2870599"/>
              <a:chExt cx="514868" cy="517262"/>
            </a:xfrm>
          </p:grpSpPr>
          <p:sp>
            <p:nvSpPr>
              <p:cNvPr id="21" name="Freeform 136"/>
              <p:cNvSpPr>
                <a:spLocks/>
              </p:cNvSpPr>
              <p:nvPr/>
            </p:nvSpPr>
            <p:spPr bwMode="auto">
              <a:xfrm>
                <a:off x="6604190" y="2870599"/>
                <a:ext cx="514868" cy="517262"/>
              </a:xfrm>
              <a:custGeom>
                <a:avLst/>
                <a:gdLst>
                  <a:gd name="T0" fmla="*/ 108 w 215"/>
                  <a:gd name="T1" fmla="*/ 0 h 216"/>
                  <a:gd name="T2" fmla="*/ 136 w 215"/>
                  <a:gd name="T3" fmla="*/ 4 h 216"/>
                  <a:gd name="T4" fmla="*/ 160 w 215"/>
                  <a:gd name="T5" fmla="*/ 14 h 216"/>
                  <a:gd name="T6" fmla="*/ 185 w 215"/>
                  <a:gd name="T7" fmla="*/ 33 h 216"/>
                  <a:gd name="T8" fmla="*/ 201 w 215"/>
                  <a:gd name="T9" fmla="*/ 55 h 216"/>
                  <a:gd name="T10" fmla="*/ 213 w 215"/>
                  <a:gd name="T11" fmla="*/ 82 h 216"/>
                  <a:gd name="T12" fmla="*/ 215 w 215"/>
                  <a:gd name="T13" fmla="*/ 108 h 216"/>
                  <a:gd name="T14" fmla="*/ 213 w 215"/>
                  <a:gd name="T15" fmla="*/ 135 h 216"/>
                  <a:gd name="T16" fmla="*/ 201 w 215"/>
                  <a:gd name="T17" fmla="*/ 161 h 216"/>
                  <a:gd name="T18" fmla="*/ 185 w 215"/>
                  <a:gd name="T19" fmla="*/ 183 h 216"/>
                  <a:gd name="T20" fmla="*/ 160 w 215"/>
                  <a:gd name="T21" fmla="*/ 202 h 216"/>
                  <a:gd name="T22" fmla="*/ 136 w 215"/>
                  <a:gd name="T23" fmla="*/ 212 h 216"/>
                  <a:gd name="T24" fmla="*/ 108 w 215"/>
                  <a:gd name="T25" fmla="*/ 216 h 216"/>
                  <a:gd name="T26" fmla="*/ 81 w 215"/>
                  <a:gd name="T27" fmla="*/ 212 h 216"/>
                  <a:gd name="T28" fmla="*/ 55 w 215"/>
                  <a:gd name="T29" fmla="*/ 202 h 216"/>
                  <a:gd name="T30" fmla="*/ 33 w 215"/>
                  <a:gd name="T31" fmla="*/ 183 h 216"/>
                  <a:gd name="T32" fmla="*/ 14 w 215"/>
                  <a:gd name="T33" fmla="*/ 161 h 216"/>
                  <a:gd name="T34" fmla="*/ 4 w 215"/>
                  <a:gd name="T35" fmla="*/ 135 h 216"/>
                  <a:gd name="T36" fmla="*/ 0 w 215"/>
                  <a:gd name="T37" fmla="*/ 108 h 216"/>
                  <a:gd name="T38" fmla="*/ 4 w 215"/>
                  <a:gd name="T39" fmla="*/ 82 h 216"/>
                  <a:gd name="T40" fmla="*/ 14 w 215"/>
                  <a:gd name="T41" fmla="*/ 55 h 216"/>
                  <a:gd name="T42" fmla="*/ 33 w 215"/>
                  <a:gd name="T43" fmla="*/ 33 h 216"/>
                  <a:gd name="T44" fmla="*/ 55 w 215"/>
                  <a:gd name="T45" fmla="*/ 14 h 216"/>
                  <a:gd name="T46" fmla="*/ 81 w 215"/>
                  <a:gd name="T47" fmla="*/ 4 h 216"/>
                  <a:gd name="T48" fmla="*/ 108 w 215"/>
                  <a:gd name="T49" fmla="*/ 0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15" h="216">
                    <a:moveTo>
                      <a:pt x="108" y="0"/>
                    </a:moveTo>
                    <a:lnTo>
                      <a:pt x="136" y="4"/>
                    </a:lnTo>
                    <a:lnTo>
                      <a:pt x="160" y="14"/>
                    </a:lnTo>
                    <a:lnTo>
                      <a:pt x="185" y="33"/>
                    </a:lnTo>
                    <a:lnTo>
                      <a:pt x="201" y="55"/>
                    </a:lnTo>
                    <a:lnTo>
                      <a:pt x="213" y="82"/>
                    </a:lnTo>
                    <a:lnTo>
                      <a:pt x="215" y="108"/>
                    </a:lnTo>
                    <a:lnTo>
                      <a:pt x="213" y="135"/>
                    </a:lnTo>
                    <a:lnTo>
                      <a:pt x="201" y="161"/>
                    </a:lnTo>
                    <a:lnTo>
                      <a:pt x="185" y="183"/>
                    </a:lnTo>
                    <a:lnTo>
                      <a:pt x="160" y="202"/>
                    </a:lnTo>
                    <a:lnTo>
                      <a:pt x="136" y="212"/>
                    </a:lnTo>
                    <a:lnTo>
                      <a:pt x="108" y="216"/>
                    </a:lnTo>
                    <a:lnTo>
                      <a:pt x="81" y="212"/>
                    </a:lnTo>
                    <a:lnTo>
                      <a:pt x="55" y="202"/>
                    </a:lnTo>
                    <a:lnTo>
                      <a:pt x="33" y="183"/>
                    </a:lnTo>
                    <a:lnTo>
                      <a:pt x="14" y="161"/>
                    </a:lnTo>
                    <a:lnTo>
                      <a:pt x="4" y="135"/>
                    </a:lnTo>
                    <a:lnTo>
                      <a:pt x="0" y="108"/>
                    </a:lnTo>
                    <a:lnTo>
                      <a:pt x="4" y="82"/>
                    </a:lnTo>
                    <a:lnTo>
                      <a:pt x="14" y="55"/>
                    </a:lnTo>
                    <a:lnTo>
                      <a:pt x="33" y="33"/>
                    </a:lnTo>
                    <a:lnTo>
                      <a:pt x="55" y="14"/>
                    </a:lnTo>
                    <a:lnTo>
                      <a:pt x="81" y="4"/>
                    </a:lnTo>
                    <a:lnTo>
                      <a:pt x="108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ea typeface="微软雅黑" panose="020B0503020204020204" pitchFamily="34" charset="-122"/>
                </a:endParaRPr>
              </a:p>
            </p:txBody>
          </p:sp>
          <p:sp>
            <p:nvSpPr>
              <p:cNvPr id="22" name="Freeform 137"/>
              <p:cNvSpPr>
                <a:spLocks/>
              </p:cNvSpPr>
              <p:nvPr/>
            </p:nvSpPr>
            <p:spPr bwMode="auto">
              <a:xfrm>
                <a:off x="6762242" y="2959204"/>
                <a:ext cx="198764" cy="340052"/>
              </a:xfrm>
              <a:custGeom>
                <a:avLst/>
                <a:gdLst>
                  <a:gd name="T0" fmla="*/ 45 w 83"/>
                  <a:gd name="T1" fmla="*/ 0 h 142"/>
                  <a:gd name="T2" fmla="*/ 49 w 83"/>
                  <a:gd name="T3" fmla="*/ 14 h 142"/>
                  <a:gd name="T4" fmla="*/ 61 w 83"/>
                  <a:gd name="T5" fmla="*/ 16 h 142"/>
                  <a:gd name="T6" fmla="*/ 73 w 83"/>
                  <a:gd name="T7" fmla="*/ 22 h 142"/>
                  <a:gd name="T8" fmla="*/ 83 w 83"/>
                  <a:gd name="T9" fmla="*/ 28 h 142"/>
                  <a:gd name="T10" fmla="*/ 81 w 83"/>
                  <a:gd name="T11" fmla="*/ 40 h 142"/>
                  <a:gd name="T12" fmla="*/ 75 w 83"/>
                  <a:gd name="T13" fmla="*/ 43 h 142"/>
                  <a:gd name="T14" fmla="*/ 63 w 83"/>
                  <a:gd name="T15" fmla="*/ 36 h 142"/>
                  <a:gd name="T16" fmla="*/ 51 w 83"/>
                  <a:gd name="T17" fmla="*/ 32 h 142"/>
                  <a:gd name="T18" fmla="*/ 43 w 83"/>
                  <a:gd name="T19" fmla="*/ 32 h 142"/>
                  <a:gd name="T20" fmla="*/ 35 w 83"/>
                  <a:gd name="T21" fmla="*/ 32 h 142"/>
                  <a:gd name="T22" fmla="*/ 24 w 83"/>
                  <a:gd name="T23" fmla="*/ 36 h 142"/>
                  <a:gd name="T24" fmla="*/ 22 w 83"/>
                  <a:gd name="T25" fmla="*/ 47 h 142"/>
                  <a:gd name="T26" fmla="*/ 27 w 83"/>
                  <a:gd name="T27" fmla="*/ 53 h 142"/>
                  <a:gd name="T28" fmla="*/ 33 w 83"/>
                  <a:gd name="T29" fmla="*/ 57 h 142"/>
                  <a:gd name="T30" fmla="*/ 37 w 83"/>
                  <a:gd name="T31" fmla="*/ 59 h 142"/>
                  <a:gd name="T32" fmla="*/ 47 w 83"/>
                  <a:gd name="T33" fmla="*/ 63 h 142"/>
                  <a:gd name="T34" fmla="*/ 61 w 83"/>
                  <a:gd name="T35" fmla="*/ 69 h 142"/>
                  <a:gd name="T36" fmla="*/ 83 w 83"/>
                  <a:gd name="T37" fmla="*/ 87 h 142"/>
                  <a:gd name="T38" fmla="*/ 83 w 83"/>
                  <a:gd name="T39" fmla="*/ 106 h 142"/>
                  <a:gd name="T40" fmla="*/ 73 w 83"/>
                  <a:gd name="T41" fmla="*/ 120 h 142"/>
                  <a:gd name="T42" fmla="*/ 59 w 83"/>
                  <a:gd name="T43" fmla="*/ 128 h 142"/>
                  <a:gd name="T44" fmla="*/ 49 w 83"/>
                  <a:gd name="T45" fmla="*/ 138 h 142"/>
                  <a:gd name="T46" fmla="*/ 35 w 83"/>
                  <a:gd name="T47" fmla="*/ 142 h 142"/>
                  <a:gd name="T48" fmla="*/ 33 w 83"/>
                  <a:gd name="T49" fmla="*/ 128 h 142"/>
                  <a:gd name="T50" fmla="*/ 8 w 83"/>
                  <a:gd name="T51" fmla="*/ 120 h 142"/>
                  <a:gd name="T52" fmla="*/ 0 w 83"/>
                  <a:gd name="T53" fmla="*/ 104 h 142"/>
                  <a:gd name="T54" fmla="*/ 6 w 83"/>
                  <a:gd name="T55" fmla="*/ 98 h 142"/>
                  <a:gd name="T56" fmla="*/ 16 w 83"/>
                  <a:gd name="T57" fmla="*/ 100 h 142"/>
                  <a:gd name="T58" fmla="*/ 18 w 83"/>
                  <a:gd name="T59" fmla="*/ 102 h 142"/>
                  <a:gd name="T60" fmla="*/ 37 w 83"/>
                  <a:gd name="T61" fmla="*/ 110 h 142"/>
                  <a:gd name="T62" fmla="*/ 51 w 83"/>
                  <a:gd name="T63" fmla="*/ 110 h 142"/>
                  <a:gd name="T64" fmla="*/ 59 w 83"/>
                  <a:gd name="T65" fmla="*/ 104 h 142"/>
                  <a:gd name="T66" fmla="*/ 59 w 83"/>
                  <a:gd name="T67" fmla="*/ 93 h 142"/>
                  <a:gd name="T68" fmla="*/ 51 w 83"/>
                  <a:gd name="T69" fmla="*/ 87 h 142"/>
                  <a:gd name="T70" fmla="*/ 41 w 83"/>
                  <a:gd name="T71" fmla="*/ 83 h 142"/>
                  <a:gd name="T72" fmla="*/ 29 w 83"/>
                  <a:gd name="T73" fmla="*/ 77 h 142"/>
                  <a:gd name="T74" fmla="*/ 16 w 83"/>
                  <a:gd name="T75" fmla="*/ 71 h 142"/>
                  <a:gd name="T76" fmla="*/ 6 w 83"/>
                  <a:gd name="T77" fmla="*/ 65 h 142"/>
                  <a:gd name="T78" fmla="*/ 0 w 83"/>
                  <a:gd name="T79" fmla="*/ 47 h 142"/>
                  <a:gd name="T80" fmla="*/ 8 w 83"/>
                  <a:gd name="T81" fmla="*/ 24 h 142"/>
                  <a:gd name="T82" fmla="*/ 22 w 83"/>
                  <a:gd name="T83" fmla="*/ 16 h 142"/>
                  <a:gd name="T84" fmla="*/ 33 w 83"/>
                  <a:gd name="T85" fmla="*/ 4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83" h="142">
                    <a:moveTo>
                      <a:pt x="35" y="0"/>
                    </a:moveTo>
                    <a:lnTo>
                      <a:pt x="45" y="0"/>
                    </a:lnTo>
                    <a:lnTo>
                      <a:pt x="49" y="4"/>
                    </a:lnTo>
                    <a:lnTo>
                      <a:pt x="49" y="14"/>
                    </a:lnTo>
                    <a:lnTo>
                      <a:pt x="57" y="16"/>
                    </a:lnTo>
                    <a:lnTo>
                      <a:pt x="61" y="16"/>
                    </a:lnTo>
                    <a:lnTo>
                      <a:pt x="67" y="18"/>
                    </a:lnTo>
                    <a:lnTo>
                      <a:pt x="73" y="22"/>
                    </a:lnTo>
                    <a:lnTo>
                      <a:pt x="79" y="24"/>
                    </a:lnTo>
                    <a:lnTo>
                      <a:pt x="83" y="28"/>
                    </a:lnTo>
                    <a:lnTo>
                      <a:pt x="83" y="36"/>
                    </a:lnTo>
                    <a:lnTo>
                      <a:pt x="81" y="40"/>
                    </a:lnTo>
                    <a:lnTo>
                      <a:pt x="77" y="43"/>
                    </a:lnTo>
                    <a:lnTo>
                      <a:pt x="75" y="43"/>
                    </a:lnTo>
                    <a:lnTo>
                      <a:pt x="71" y="43"/>
                    </a:lnTo>
                    <a:lnTo>
                      <a:pt x="63" y="36"/>
                    </a:lnTo>
                    <a:lnTo>
                      <a:pt x="57" y="34"/>
                    </a:lnTo>
                    <a:lnTo>
                      <a:pt x="51" y="32"/>
                    </a:lnTo>
                    <a:lnTo>
                      <a:pt x="47" y="32"/>
                    </a:lnTo>
                    <a:lnTo>
                      <a:pt x="43" y="32"/>
                    </a:lnTo>
                    <a:lnTo>
                      <a:pt x="41" y="32"/>
                    </a:lnTo>
                    <a:lnTo>
                      <a:pt x="35" y="32"/>
                    </a:lnTo>
                    <a:lnTo>
                      <a:pt x="31" y="34"/>
                    </a:lnTo>
                    <a:lnTo>
                      <a:pt x="24" y="36"/>
                    </a:lnTo>
                    <a:lnTo>
                      <a:pt x="22" y="40"/>
                    </a:lnTo>
                    <a:lnTo>
                      <a:pt x="22" y="47"/>
                    </a:lnTo>
                    <a:lnTo>
                      <a:pt x="22" y="51"/>
                    </a:lnTo>
                    <a:lnTo>
                      <a:pt x="27" y="53"/>
                    </a:lnTo>
                    <a:lnTo>
                      <a:pt x="29" y="55"/>
                    </a:lnTo>
                    <a:lnTo>
                      <a:pt x="33" y="57"/>
                    </a:lnTo>
                    <a:lnTo>
                      <a:pt x="35" y="57"/>
                    </a:lnTo>
                    <a:lnTo>
                      <a:pt x="37" y="59"/>
                    </a:lnTo>
                    <a:lnTo>
                      <a:pt x="41" y="61"/>
                    </a:lnTo>
                    <a:lnTo>
                      <a:pt x="47" y="63"/>
                    </a:lnTo>
                    <a:lnTo>
                      <a:pt x="49" y="63"/>
                    </a:lnTo>
                    <a:lnTo>
                      <a:pt x="61" y="69"/>
                    </a:lnTo>
                    <a:lnTo>
                      <a:pt x="75" y="77"/>
                    </a:lnTo>
                    <a:lnTo>
                      <a:pt x="83" y="87"/>
                    </a:lnTo>
                    <a:lnTo>
                      <a:pt x="83" y="98"/>
                    </a:lnTo>
                    <a:lnTo>
                      <a:pt x="83" y="106"/>
                    </a:lnTo>
                    <a:lnTo>
                      <a:pt x="79" y="114"/>
                    </a:lnTo>
                    <a:lnTo>
                      <a:pt x="73" y="120"/>
                    </a:lnTo>
                    <a:lnTo>
                      <a:pt x="67" y="124"/>
                    </a:lnTo>
                    <a:lnTo>
                      <a:pt x="59" y="128"/>
                    </a:lnTo>
                    <a:lnTo>
                      <a:pt x="49" y="130"/>
                    </a:lnTo>
                    <a:lnTo>
                      <a:pt x="49" y="138"/>
                    </a:lnTo>
                    <a:lnTo>
                      <a:pt x="45" y="142"/>
                    </a:lnTo>
                    <a:lnTo>
                      <a:pt x="35" y="142"/>
                    </a:lnTo>
                    <a:lnTo>
                      <a:pt x="33" y="138"/>
                    </a:lnTo>
                    <a:lnTo>
                      <a:pt x="33" y="128"/>
                    </a:lnTo>
                    <a:lnTo>
                      <a:pt x="18" y="126"/>
                    </a:lnTo>
                    <a:lnTo>
                      <a:pt x="8" y="120"/>
                    </a:lnTo>
                    <a:lnTo>
                      <a:pt x="0" y="112"/>
                    </a:lnTo>
                    <a:lnTo>
                      <a:pt x="0" y="104"/>
                    </a:lnTo>
                    <a:lnTo>
                      <a:pt x="2" y="100"/>
                    </a:lnTo>
                    <a:lnTo>
                      <a:pt x="6" y="98"/>
                    </a:lnTo>
                    <a:lnTo>
                      <a:pt x="10" y="98"/>
                    </a:lnTo>
                    <a:lnTo>
                      <a:pt x="16" y="100"/>
                    </a:lnTo>
                    <a:lnTo>
                      <a:pt x="16" y="102"/>
                    </a:lnTo>
                    <a:lnTo>
                      <a:pt x="18" y="102"/>
                    </a:lnTo>
                    <a:lnTo>
                      <a:pt x="29" y="108"/>
                    </a:lnTo>
                    <a:lnTo>
                      <a:pt x="37" y="110"/>
                    </a:lnTo>
                    <a:lnTo>
                      <a:pt x="45" y="110"/>
                    </a:lnTo>
                    <a:lnTo>
                      <a:pt x="51" y="110"/>
                    </a:lnTo>
                    <a:lnTo>
                      <a:pt x="57" y="108"/>
                    </a:lnTo>
                    <a:lnTo>
                      <a:pt x="59" y="104"/>
                    </a:lnTo>
                    <a:lnTo>
                      <a:pt x="61" y="100"/>
                    </a:lnTo>
                    <a:lnTo>
                      <a:pt x="59" y="93"/>
                    </a:lnTo>
                    <a:lnTo>
                      <a:pt x="55" y="89"/>
                    </a:lnTo>
                    <a:lnTo>
                      <a:pt x="51" y="87"/>
                    </a:lnTo>
                    <a:lnTo>
                      <a:pt x="47" y="85"/>
                    </a:lnTo>
                    <a:lnTo>
                      <a:pt x="41" y="83"/>
                    </a:lnTo>
                    <a:lnTo>
                      <a:pt x="35" y="79"/>
                    </a:lnTo>
                    <a:lnTo>
                      <a:pt x="29" y="77"/>
                    </a:lnTo>
                    <a:lnTo>
                      <a:pt x="22" y="73"/>
                    </a:lnTo>
                    <a:lnTo>
                      <a:pt x="16" y="71"/>
                    </a:lnTo>
                    <a:lnTo>
                      <a:pt x="14" y="71"/>
                    </a:lnTo>
                    <a:lnTo>
                      <a:pt x="6" y="65"/>
                    </a:lnTo>
                    <a:lnTo>
                      <a:pt x="2" y="59"/>
                    </a:lnTo>
                    <a:lnTo>
                      <a:pt x="0" y="47"/>
                    </a:lnTo>
                    <a:lnTo>
                      <a:pt x="2" y="34"/>
                    </a:lnTo>
                    <a:lnTo>
                      <a:pt x="8" y="24"/>
                    </a:lnTo>
                    <a:lnTo>
                      <a:pt x="16" y="20"/>
                    </a:lnTo>
                    <a:lnTo>
                      <a:pt x="22" y="16"/>
                    </a:lnTo>
                    <a:lnTo>
                      <a:pt x="33" y="14"/>
                    </a:lnTo>
                    <a:lnTo>
                      <a:pt x="33" y="4"/>
                    </a:lnTo>
                    <a:lnTo>
                      <a:pt x="35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2" name="组合 11"/>
            <p:cNvGrpSpPr/>
            <p:nvPr/>
          </p:nvGrpSpPr>
          <p:grpSpPr>
            <a:xfrm>
              <a:off x="5696587" y="4506201"/>
              <a:ext cx="514868" cy="517262"/>
              <a:chOff x="5696587" y="4506201"/>
              <a:chExt cx="514868" cy="517262"/>
            </a:xfrm>
          </p:grpSpPr>
          <p:sp>
            <p:nvSpPr>
              <p:cNvPr id="13" name="Freeform 138"/>
              <p:cNvSpPr>
                <a:spLocks/>
              </p:cNvSpPr>
              <p:nvPr/>
            </p:nvSpPr>
            <p:spPr bwMode="auto">
              <a:xfrm>
                <a:off x="5696587" y="4506201"/>
                <a:ext cx="514868" cy="517262"/>
              </a:xfrm>
              <a:custGeom>
                <a:avLst/>
                <a:gdLst>
                  <a:gd name="T0" fmla="*/ 107 w 215"/>
                  <a:gd name="T1" fmla="*/ 0 h 216"/>
                  <a:gd name="T2" fmla="*/ 136 w 215"/>
                  <a:gd name="T3" fmla="*/ 4 h 216"/>
                  <a:gd name="T4" fmla="*/ 162 w 215"/>
                  <a:gd name="T5" fmla="*/ 14 h 216"/>
                  <a:gd name="T6" fmla="*/ 184 w 215"/>
                  <a:gd name="T7" fmla="*/ 32 h 216"/>
                  <a:gd name="T8" fmla="*/ 203 w 215"/>
                  <a:gd name="T9" fmla="*/ 55 h 216"/>
                  <a:gd name="T10" fmla="*/ 213 w 215"/>
                  <a:gd name="T11" fmla="*/ 81 h 216"/>
                  <a:gd name="T12" fmla="*/ 215 w 215"/>
                  <a:gd name="T13" fmla="*/ 108 h 216"/>
                  <a:gd name="T14" fmla="*/ 213 w 215"/>
                  <a:gd name="T15" fmla="*/ 136 h 216"/>
                  <a:gd name="T16" fmla="*/ 203 w 215"/>
                  <a:gd name="T17" fmla="*/ 161 h 216"/>
                  <a:gd name="T18" fmla="*/ 184 w 215"/>
                  <a:gd name="T19" fmla="*/ 185 h 216"/>
                  <a:gd name="T20" fmla="*/ 162 w 215"/>
                  <a:gd name="T21" fmla="*/ 202 h 216"/>
                  <a:gd name="T22" fmla="*/ 136 w 215"/>
                  <a:gd name="T23" fmla="*/ 214 h 216"/>
                  <a:gd name="T24" fmla="*/ 107 w 215"/>
                  <a:gd name="T25" fmla="*/ 216 h 216"/>
                  <a:gd name="T26" fmla="*/ 81 w 215"/>
                  <a:gd name="T27" fmla="*/ 214 h 216"/>
                  <a:gd name="T28" fmla="*/ 55 w 215"/>
                  <a:gd name="T29" fmla="*/ 202 h 216"/>
                  <a:gd name="T30" fmla="*/ 32 w 215"/>
                  <a:gd name="T31" fmla="*/ 185 h 216"/>
                  <a:gd name="T32" fmla="*/ 14 w 215"/>
                  <a:gd name="T33" fmla="*/ 161 h 216"/>
                  <a:gd name="T34" fmla="*/ 4 w 215"/>
                  <a:gd name="T35" fmla="*/ 136 h 216"/>
                  <a:gd name="T36" fmla="*/ 0 w 215"/>
                  <a:gd name="T37" fmla="*/ 108 h 216"/>
                  <a:gd name="T38" fmla="*/ 4 w 215"/>
                  <a:gd name="T39" fmla="*/ 81 h 216"/>
                  <a:gd name="T40" fmla="*/ 14 w 215"/>
                  <a:gd name="T41" fmla="*/ 55 h 216"/>
                  <a:gd name="T42" fmla="*/ 32 w 215"/>
                  <a:gd name="T43" fmla="*/ 32 h 216"/>
                  <a:gd name="T44" fmla="*/ 55 w 215"/>
                  <a:gd name="T45" fmla="*/ 14 h 216"/>
                  <a:gd name="T46" fmla="*/ 81 w 215"/>
                  <a:gd name="T47" fmla="*/ 4 h 216"/>
                  <a:gd name="T48" fmla="*/ 107 w 215"/>
                  <a:gd name="T49" fmla="*/ 0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15" h="216">
                    <a:moveTo>
                      <a:pt x="107" y="0"/>
                    </a:moveTo>
                    <a:lnTo>
                      <a:pt x="136" y="4"/>
                    </a:lnTo>
                    <a:lnTo>
                      <a:pt x="162" y="14"/>
                    </a:lnTo>
                    <a:lnTo>
                      <a:pt x="184" y="32"/>
                    </a:lnTo>
                    <a:lnTo>
                      <a:pt x="203" y="55"/>
                    </a:lnTo>
                    <a:lnTo>
                      <a:pt x="213" y="81"/>
                    </a:lnTo>
                    <a:lnTo>
                      <a:pt x="215" y="108"/>
                    </a:lnTo>
                    <a:lnTo>
                      <a:pt x="213" y="136"/>
                    </a:lnTo>
                    <a:lnTo>
                      <a:pt x="203" y="161"/>
                    </a:lnTo>
                    <a:lnTo>
                      <a:pt x="184" y="185"/>
                    </a:lnTo>
                    <a:lnTo>
                      <a:pt x="162" y="202"/>
                    </a:lnTo>
                    <a:lnTo>
                      <a:pt x="136" y="214"/>
                    </a:lnTo>
                    <a:lnTo>
                      <a:pt x="107" y="216"/>
                    </a:lnTo>
                    <a:lnTo>
                      <a:pt x="81" y="214"/>
                    </a:lnTo>
                    <a:lnTo>
                      <a:pt x="55" y="202"/>
                    </a:lnTo>
                    <a:lnTo>
                      <a:pt x="32" y="185"/>
                    </a:lnTo>
                    <a:lnTo>
                      <a:pt x="14" y="161"/>
                    </a:lnTo>
                    <a:lnTo>
                      <a:pt x="4" y="136"/>
                    </a:lnTo>
                    <a:lnTo>
                      <a:pt x="0" y="108"/>
                    </a:lnTo>
                    <a:lnTo>
                      <a:pt x="4" y="81"/>
                    </a:lnTo>
                    <a:lnTo>
                      <a:pt x="14" y="55"/>
                    </a:lnTo>
                    <a:lnTo>
                      <a:pt x="32" y="32"/>
                    </a:lnTo>
                    <a:lnTo>
                      <a:pt x="55" y="14"/>
                    </a:lnTo>
                    <a:lnTo>
                      <a:pt x="81" y="4"/>
                    </a:lnTo>
                    <a:lnTo>
                      <a:pt x="107" y="0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ea typeface="微软雅黑" panose="020B0503020204020204" pitchFamily="34" charset="-122"/>
                </a:endParaRPr>
              </a:p>
            </p:txBody>
          </p:sp>
          <p:grpSp>
            <p:nvGrpSpPr>
              <p:cNvPr id="14" name="组合 13"/>
              <p:cNvGrpSpPr/>
              <p:nvPr/>
            </p:nvGrpSpPr>
            <p:grpSpPr>
              <a:xfrm>
                <a:off x="5757653" y="4613963"/>
                <a:ext cx="392736" cy="301738"/>
                <a:chOff x="5758850" y="4613963"/>
                <a:chExt cx="392736" cy="301738"/>
              </a:xfrm>
            </p:grpSpPr>
            <p:sp>
              <p:nvSpPr>
                <p:cNvPr id="15" name="Freeform 139"/>
                <p:cNvSpPr>
                  <a:spLocks/>
                </p:cNvSpPr>
                <p:nvPr/>
              </p:nvSpPr>
              <p:spPr bwMode="auto">
                <a:xfrm>
                  <a:off x="6031849" y="4613963"/>
                  <a:ext cx="76631" cy="76631"/>
                </a:xfrm>
                <a:custGeom>
                  <a:avLst/>
                  <a:gdLst>
                    <a:gd name="T0" fmla="*/ 16 w 32"/>
                    <a:gd name="T1" fmla="*/ 0 h 32"/>
                    <a:gd name="T2" fmla="*/ 22 w 32"/>
                    <a:gd name="T3" fmla="*/ 2 h 32"/>
                    <a:gd name="T4" fmla="*/ 26 w 32"/>
                    <a:gd name="T5" fmla="*/ 6 h 32"/>
                    <a:gd name="T6" fmla="*/ 30 w 32"/>
                    <a:gd name="T7" fmla="*/ 10 h 32"/>
                    <a:gd name="T8" fmla="*/ 32 w 32"/>
                    <a:gd name="T9" fmla="*/ 16 h 32"/>
                    <a:gd name="T10" fmla="*/ 30 w 32"/>
                    <a:gd name="T11" fmla="*/ 22 h 32"/>
                    <a:gd name="T12" fmla="*/ 26 w 32"/>
                    <a:gd name="T13" fmla="*/ 26 h 32"/>
                    <a:gd name="T14" fmla="*/ 22 w 32"/>
                    <a:gd name="T15" fmla="*/ 30 h 32"/>
                    <a:gd name="T16" fmla="*/ 16 w 32"/>
                    <a:gd name="T17" fmla="*/ 32 h 32"/>
                    <a:gd name="T18" fmla="*/ 10 w 32"/>
                    <a:gd name="T19" fmla="*/ 30 h 32"/>
                    <a:gd name="T20" fmla="*/ 6 w 32"/>
                    <a:gd name="T21" fmla="*/ 26 h 32"/>
                    <a:gd name="T22" fmla="*/ 2 w 32"/>
                    <a:gd name="T23" fmla="*/ 22 h 32"/>
                    <a:gd name="T24" fmla="*/ 0 w 32"/>
                    <a:gd name="T25" fmla="*/ 16 h 32"/>
                    <a:gd name="T26" fmla="*/ 2 w 32"/>
                    <a:gd name="T27" fmla="*/ 10 h 32"/>
                    <a:gd name="T28" fmla="*/ 6 w 32"/>
                    <a:gd name="T29" fmla="*/ 6 h 32"/>
                    <a:gd name="T30" fmla="*/ 10 w 32"/>
                    <a:gd name="T31" fmla="*/ 2 h 32"/>
                    <a:gd name="T32" fmla="*/ 16 w 32"/>
                    <a:gd name="T33" fmla="*/ 0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2" h="32">
                      <a:moveTo>
                        <a:pt x="16" y="0"/>
                      </a:moveTo>
                      <a:lnTo>
                        <a:pt x="22" y="2"/>
                      </a:lnTo>
                      <a:lnTo>
                        <a:pt x="26" y="6"/>
                      </a:lnTo>
                      <a:lnTo>
                        <a:pt x="30" y="10"/>
                      </a:lnTo>
                      <a:lnTo>
                        <a:pt x="32" y="16"/>
                      </a:lnTo>
                      <a:lnTo>
                        <a:pt x="30" y="22"/>
                      </a:lnTo>
                      <a:lnTo>
                        <a:pt x="26" y="26"/>
                      </a:lnTo>
                      <a:lnTo>
                        <a:pt x="22" y="30"/>
                      </a:lnTo>
                      <a:lnTo>
                        <a:pt x="16" y="32"/>
                      </a:lnTo>
                      <a:lnTo>
                        <a:pt x="10" y="30"/>
                      </a:lnTo>
                      <a:lnTo>
                        <a:pt x="6" y="26"/>
                      </a:lnTo>
                      <a:lnTo>
                        <a:pt x="2" y="22"/>
                      </a:lnTo>
                      <a:lnTo>
                        <a:pt x="0" y="16"/>
                      </a:lnTo>
                      <a:lnTo>
                        <a:pt x="2" y="10"/>
                      </a:lnTo>
                      <a:lnTo>
                        <a:pt x="6" y="6"/>
                      </a:lnTo>
                      <a:lnTo>
                        <a:pt x="10" y="2"/>
                      </a:lnTo>
                      <a:lnTo>
                        <a:pt x="16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6" name="Freeform 140"/>
                <p:cNvSpPr>
                  <a:spLocks/>
                </p:cNvSpPr>
                <p:nvPr/>
              </p:nvSpPr>
              <p:spPr bwMode="auto">
                <a:xfrm>
                  <a:off x="5801955" y="4613963"/>
                  <a:ext cx="79027" cy="76631"/>
                </a:xfrm>
                <a:custGeom>
                  <a:avLst/>
                  <a:gdLst>
                    <a:gd name="T0" fmla="*/ 17 w 33"/>
                    <a:gd name="T1" fmla="*/ 0 h 32"/>
                    <a:gd name="T2" fmla="*/ 23 w 33"/>
                    <a:gd name="T3" fmla="*/ 2 h 32"/>
                    <a:gd name="T4" fmla="*/ 27 w 33"/>
                    <a:gd name="T5" fmla="*/ 6 h 32"/>
                    <a:gd name="T6" fmla="*/ 31 w 33"/>
                    <a:gd name="T7" fmla="*/ 10 h 32"/>
                    <a:gd name="T8" fmla="*/ 33 w 33"/>
                    <a:gd name="T9" fmla="*/ 16 h 32"/>
                    <a:gd name="T10" fmla="*/ 31 w 33"/>
                    <a:gd name="T11" fmla="*/ 22 h 32"/>
                    <a:gd name="T12" fmla="*/ 27 w 33"/>
                    <a:gd name="T13" fmla="*/ 26 h 32"/>
                    <a:gd name="T14" fmla="*/ 23 w 33"/>
                    <a:gd name="T15" fmla="*/ 30 h 32"/>
                    <a:gd name="T16" fmla="*/ 17 w 33"/>
                    <a:gd name="T17" fmla="*/ 32 h 32"/>
                    <a:gd name="T18" fmla="*/ 11 w 33"/>
                    <a:gd name="T19" fmla="*/ 30 h 32"/>
                    <a:gd name="T20" fmla="*/ 4 w 33"/>
                    <a:gd name="T21" fmla="*/ 26 h 32"/>
                    <a:gd name="T22" fmla="*/ 2 w 33"/>
                    <a:gd name="T23" fmla="*/ 22 h 32"/>
                    <a:gd name="T24" fmla="*/ 0 w 33"/>
                    <a:gd name="T25" fmla="*/ 16 h 32"/>
                    <a:gd name="T26" fmla="*/ 2 w 33"/>
                    <a:gd name="T27" fmla="*/ 10 h 32"/>
                    <a:gd name="T28" fmla="*/ 4 w 33"/>
                    <a:gd name="T29" fmla="*/ 6 h 32"/>
                    <a:gd name="T30" fmla="*/ 11 w 33"/>
                    <a:gd name="T31" fmla="*/ 2 h 32"/>
                    <a:gd name="T32" fmla="*/ 17 w 33"/>
                    <a:gd name="T33" fmla="*/ 0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3" h="32">
                      <a:moveTo>
                        <a:pt x="17" y="0"/>
                      </a:moveTo>
                      <a:lnTo>
                        <a:pt x="23" y="2"/>
                      </a:lnTo>
                      <a:lnTo>
                        <a:pt x="27" y="6"/>
                      </a:lnTo>
                      <a:lnTo>
                        <a:pt x="31" y="10"/>
                      </a:lnTo>
                      <a:lnTo>
                        <a:pt x="33" y="16"/>
                      </a:lnTo>
                      <a:lnTo>
                        <a:pt x="31" y="22"/>
                      </a:lnTo>
                      <a:lnTo>
                        <a:pt x="27" y="26"/>
                      </a:lnTo>
                      <a:lnTo>
                        <a:pt x="23" y="30"/>
                      </a:lnTo>
                      <a:lnTo>
                        <a:pt x="17" y="32"/>
                      </a:lnTo>
                      <a:lnTo>
                        <a:pt x="11" y="30"/>
                      </a:lnTo>
                      <a:lnTo>
                        <a:pt x="4" y="26"/>
                      </a:lnTo>
                      <a:lnTo>
                        <a:pt x="2" y="22"/>
                      </a:lnTo>
                      <a:lnTo>
                        <a:pt x="0" y="16"/>
                      </a:lnTo>
                      <a:lnTo>
                        <a:pt x="2" y="10"/>
                      </a:lnTo>
                      <a:lnTo>
                        <a:pt x="4" y="6"/>
                      </a:lnTo>
                      <a:lnTo>
                        <a:pt x="11" y="2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7" name="Freeform 141"/>
                <p:cNvSpPr>
                  <a:spLocks/>
                </p:cNvSpPr>
                <p:nvPr/>
              </p:nvSpPr>
              <p:spPr bwMode="auto">
                <a:xfrm>
                  <a:off x="5909717" y="4647490"/>
                  <a:ext cx="98185" cy="93395"/>
                </a:xfrm>
                <a:custGeom>
                  <a:avLst/>
                  <a:gdLst>
                    <a:gd name="T0" fmla="*/ 20 w 41"/>
                    <a:gd name="T1" fmla="*/ 0 h 39"/>
                    <a:gd name="T2" fmla="*/ 26 w 41"/>
                    <a:gd name="T3" fmla="*/ 0 h 39"/>
                    <a:gd name="T4" fmla="*/ 32 w 41"/>
                    <a:gd name="T5" fmla="*/ 4 h 39"/>
                    <a:gd name="T6" fmla="*/ 37 w 41"/>
                    <a:gd name="T7" fmla="*/ 8 h 39"/>
                    <a:gd name="T8" fmla="*/ 39 w 41"/>
                    <a:gd name="T9" fmla="*/ 12 h 39"/>
                    <a:gd name="T10" fmla="*/ 41 w 41"/>
                    <a:gd name="T11" fmla="*/ 18 h 39"/>
                    <a:gd name="T12" fmla="*/ 39 w 41"/>
                    <a:gd name="T13" fmla="*/ 26 h 39"/>
                    <a:gd name="T14" fmla="*/ 37 w 41"/>
                    <a:gd name="T15" fmla="*/ 30 h 39"/>
                    <a:gd name="T16" fmla="*/ 32 w 41"/>
                    <a:gd name="T17" fmla="*/ 35 h 39"/>
                    <a:gd name="T18" fmla="*/ 26 w 41"/>
                    <a:gd name="T19" fmla="*/ 39 h 39"/>
                    <a:gd name="T20" fmla="*/ 20 w 41"/>
                    <a:gd name="T21" fmla="*/ 39 h 39"/>
                    <a:gd name="T22" fmla="*/ 14 w 41"/>
                    <a:gd name="T23" fmla="*/ 39 h 39"/>
                    <a:gd name="T24" fmla="*/ 8 w 41"/>
                    <a:gd name="T25" fmla="*/ 35 h 39"/>
                    <a:gd name="T26" fmla="*/ 4 w 41"/>
                    <a:gd name="T27" fmla="*/ 30 h 39"/>
                    <a:gd name="T28" fmla="*/ 2 w 41"/>
                    <a:gd name="T29" fmla="*/ 26 h 39"/>
                    <a:gd name="T30" fmla="*/ 0 w 41"/>
                    <a:gd name="T31" fmla="*/ 18 h 39"/>
                    <a:gd name="T32" fmla="*/ 2 w 41"/>
                    <a:gd name="T33" fmla="*/ 12 h 39"/>
                    <a:gd name="T34" fmla="*/ 4 w 41"/>
                    <a:gd name="T35" fmla="*/ 8 h 39"/>
                    <a:gd name="T36" fmla="*/ 8 w 41"/>
                    <a:gd name="T37" fmla="*/ 4 h 39"/>
                    <a:gd name="T38" fmla="*/ 14 w 41"/>
                    <a:gd name="T39" fmla="*/ 0 h 39"/>
                    <a:gd name="T40" fmla="*/ 20 w 41"/>
                    <a:gd name="T41" fmla="*/ 0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41" h="39">
                      <a:moveTo>
                        <a:pt x="20" y="0"/>
                      </a:moveTo>
                      <a:lnTo>
                        <a:pt x="26" y="0"/>
                      </a:lnTo>
                      <a:lnTo>
                        <a:pt x="32" y="4"/>
                      </a:lnTo>
                      <a:lnTo>
                        <a:pt x="37" y="8"/>
                      </a:lnTo>
                      <a:lnTo>
                        <a:pt x="39" y="12"/>
                      </a:lnTo>
                      <a:lnTo>
                        <a:pt x="41" y="18"/>
                      </a:lnTo>
                      <a:lnTo>
                        <a:pt x="39" y="26"/>
                      </a:lnTo>
                      <a:lnTo>
                        <a:pt x="37" y="30"/>
                      </a:lnTo>
                      <a:lnTo>
                        <a:pt x="32" y="35"/>
                      </a:lnTo>
                      <a:lnTo>
                        <a:pt x="26" y="39"/>
                      </a:lnTo>
                      <a:lnTo>
                        <a:pt x="20" y="39"/>
                      </a:lnTo>
                      <a:lnTo>
                        <a:pt x="14" y="39"/>
                      </a:lnTo>
                      <a:lnTo>
                        <a:pt x="8" y="35"/>
                      </a:lnTo>
                      <a:lnTo>
                        <a:pt x="4" y="30"/>
                      </a:lnTo>
                      <a:lnTo>
                        <a:pt x="2" y="26"/>
                      </a:lnTo>
                      <a:lnTo>
                        <a:pt x="0" y="18"/>
                      </a:lnTo>
                      <a:lnTo>
                        <a:pt x="2" y="12"/>
                      </a:lnTo>
                      <a:lnTo>
                        <a:pt x="4" y="8"/>
                      </a:lnTo>
                      <a:lnTo>
                        <a:pt x="8" y="4"/>
                      </a:lnTo>
                      <a:lnTo>
                        <a:pt x="14" y="0"/>
                      </a:lnTo>
                      <a:lnTo>
                        <a:pt x="2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8" name="Freeform 142"/>
                <p:cNvSpPr>
                  <a:spLocks/>
                </p:cNvSpPr>
                <p:nvPr/>
              </p:nvSpPr>
              <p:spPr bwMode="auto">
                <a:xfrm>
                  <a:off x="5857033" y="4755253"/>
                  <a:ext cx="203553" cy="160448"/>
                </a:xfrm>
                <a:custGeom>
                  <a:avLst/>
                  <a:gdLst>
                    <a:gd name="T0" fmla="*/ 14 w 85"/>
                    <a:gd name="T1" fmla="*/ 0 h 67"/>
                    <a:gd name="T2" fmla="*/ 71 w 85"/>
                    <a:gd name="T3" fmla="*/ 0 h 67"/>
                    <a:gd name="T4" fmla="*/ 77 w 85"/>
                    <a:gd name="T5" fmla="*/ 0 h 67"/>
                    <a:gd name="T6" fmla="*/ 81 w 85"/>
                    <a:gd name="T7" fmla="*/ 4 h 67"/>
                    <a:gd name="T8" fmla="*/ 83 w 85"/>
                    <a:gd name="T9" fmla="*/ 8 h 67"/>
                    <a:gd name="T10" fmla="*/ 85 w 85"/>
                    <a:gd name="T11" fmla="*/ 14 h 67"/>
                    <a:gd name="T12" fmla="*/ 85 w 85"/>
                    <a:gd name="T13" fmla="*/ 67 h 67"/>
                    <a:gd name="T14" fmla="*/ 73 w 85"/>
                    <a:gd name="T15" fmla="*/ 67 h 67"/>
                    <a:gd name="T16" fmla="*/ 73 w 85"/>
                    <a:gd name="T17" fmla="*/ 24 h 67"/>
                    <a:gd name="T18" fmla="*/ 69 w 85"/>
                    <a:gd name="T19" fmla="*/ 20 h 67"/>
                    <a:gd name="T20" fmla="*/ 65 w 85"/>
                    <a:gd name="T21" fmla="*/ 24 h 67"/>
                    <a:gd name="T22" fmla="*/ 65 w 85"/>
                    <a:gd name="T23" fmla="*/ 67 h 67"/>
                    <a:gd name="T24" fmla="*/ 20 w 85"/>
                    <a:gd name="T25" fmla="*/ 67 h 67"/>
                    <a:gd name="T26" fmla="*/ 20 w 85"/>
                    <a:gd name="T27" fmla="*/ 24 h 67"/>
                    <a:gd name="T28" fmla="*/ 16 w 85"/>
                    <a:gd name="T29" fmla="*/ 20 h 67"/>
                    <a:gd name="T30" fmla="*/ 12 w 85"/>
                    <a:gd name="T31" fmla="*/ 24 h 67"/>
                    <a:gd name="T32" fmla="*/ 12 w 85"/>
                    <a:gd name="T33" fmla="*/ 67 h 67"/>
                    <a:gd name="T34" fmla="*/ 0 w 85"/>
                    <a:gd name="T35" fmla="*/ 67 h 67"/>
                    <a:gd name="T36" fmla="*/ 0 w 85"/>
                    <a:gd name="T37" fmla="*/ 14 h 67"/>
                    <a:gd name="T38" fmla="*/ 0 w 85"/>
                    <a:gd name="T39" fmla="*/ 8 h 67"/>
                    <a:gd name="T40" fmla="*/ 4 w 85"/>
                    <a:gd name="T41" fmla="*/ 4 h 67"/>
                    <a:gd name="T42" fmla="*/ 8 w 85"/>
                    <a:gd name="T43" fmla="*/ 0 h 67"/>
                    <a:gd name="T44" fmla="*/ 14 w 85"/>
                    <a:gd name="T45" fmla="*/ 0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85" h="67">
                      <a:moveTo>
                        <a:pt x="14" y="0"/>
                      </a:moveTo>
                      <a:lnTo>
                        <a:pt x="71" y="0"/>
                      </a:lnTo>
                      <a:lnTo>
                        <a:pt x="77" y="0"/>
                      </a:lnTo>
                      <a:lnTo>
                        <a:pt x="81" y="4"/>
                      </a:lnTo>
                      <a:lnTo>
                        <a:pt x="83" y="8"/>
                      </a:lnTo>
                      <a:lnTo>
                        <a:pt x="85" y="14"/>
                      </a:lnTo>
                      <a:lnTo>
                        <a:pt x="85" y="67"/>
                      </a:lnTo>
                      <a:lnTo>
                        <a:pt x="73" y="67"/>
                      </a:lnTo>
                      <a:lnTo>
                        <a:pt x="73" y="24"/>
                      </a:lnTo>
                      <a:lnTo>
                        <a:pt x="69" y="20"/>
                      </a:lnTo>
                      <a:lnTo>
                        <a:pt x="65" y="24"/>
                      </a:lnTo>
                      <a:lnTo>
                        <a:pt x="65" y="67"/>
                      </a:lnTo>
                      <a:lnTo>
                        <a:pt x="20" y="67"/>
                      </a:lnTo>
                      <a:lnTo>
                        <a:pt x="20" y="24"/>
                      </a:lnTo>
                      <a:lnTo>
                        <a:pt x="16" y="20"/>
                      </a:lnTo>
                      <a:lnTo>
                        <a:pt x="12" y="24"/>
                      </a:lnTo>
                      <a:lnTo>
                        <a:pt x="12" y="67"/>
                      </a:lnTo>
                      <a:lnTo>
                        <a:pt x="0" y="67"/>
                      </a:lnTo>
                      <a:lnTo>
                        <a:pt x="0" y="14"/>
                      </a:lnTo>
                      <a:lnTo>
                        <a:pt x="0" y="8"/>
                      </a:lnTo>
                      <a:lnTo>
                        <a:pt x="4" y="4"/>
                      </a:lnTo>
                      <a:lnTo>
                        <a:pt x="8" y="0"/>
                      </a:lnTo>
                      <a:lnTo>
                        <a:pt x="1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9" name="Freeform 143"/>
                <p:cNvSpPr>
                  <a:spLocks/>
                </p:cNvSpPr>
                <p:nvPr/>
              </p:nvSpPr>
              <p:spPr bwMode="auto">
                <a:xfrm>
                  <a:off x="6003113" y="4700174"/>
                  <a:ext cx="148473" cy="131711"/>
                </a:xfrm>
                <a:custGeom>
                  <a:avLst/>
                  <a:gdLst>
                    <a:gd name="T0" fmla="*/ 8 w 62"/>
                    <a:gd name="T1" fmla="*/ 0 h 55"/>
                    <a:gd name="T2" fmla="*/ 50 w 62"/>
                    <a:gd name="T3" fmla="*/ 0 h 55"/>
                    <a:gd name="T4" fmla="*/ 54 w 62"/>
                    <a:gd name="T5" fmla="*/ 0 h 55"/>
                    <a:gd name="T6" fmla="*/ 58 w 62"/>
                    <a:gd name="T7" fmla="*/ 2 h 55"/>
                    <a:gd name="T8" fmla="*/ 60 w 62"/>
                    <a:gd name="T9" fmla="*/ 6 h 55"/>
                    <a:gd name="T10" fmla="*/ 62 w 62"/>
                    <a:gd name="T11" fmla="*/ 11 h 55"/>
                    <a:gd name="T12" fmla="*/ 62 w 62"/>
                    <a:gd name="T13" fmla="*/ 55 h 55"/>
                    <a:gd name="T14" fmla="*/ 52 w 62"/>
                    <a:gd name="T15" fmla="*/ 55 h 55"/>
                    <a:gd name="T16" fmla="*/ 52 w 62"/>
                    <a:gd name="T17" fmla="*/ 19 h 55"/>
                    <a:gd name="T18" fmla="*/ 48 w 62"/>
                    <a:gd name="T19" fmla="*/ 15 h 55"/>
                    <a:gd name="T20" fmla="*/ 46 w 62"/>
                    <a:gd name="T21" fmla="*/ 19 h 55"/>
                    <a:gd name="T22" fmla="*/ 46 w 62"/>
                    <a:gd name="T23" fmla="*/ 55 h 55"/>
                    <a:gd name="T24" fmla="*/ 30 w 62"/>
                    <a:gd name="T25" fmla="*/ 55 h 55"/>
                    <a:gd name="T26" fmla="*/ 30 w 62"/>
                    <a:gd name="T27" fmla="*/ 37 h 55"/>
                    <a:gd name="T28" fmla="*/ 30 w 62"/>
                    <a:gd name="T29" fmla="*/ 31 h 55"/>
                    <a:gd name="T30" fmla="*/ 26 w 62"/>
                    <a:gd name="T31" fmla="*/ 25 h 55"/>
                    <a:gd name="T32" fmla="*/ 22 w 62"/>
                    <a:gd name="T33" fmla="*/ 21 h 55"/>
                    <a:gd name="T34" fmla="*/ 16 w 62"/>
                    <a:gd name="T35" fmla="*/ 17 h 55"/>
                    <a:gd name="T36" fmla="*/ 10 w 62"/>
                    <a:gd name="T37" fmla="*/ 17 h 55"/>
                    <a:gd name="T38" fmla="*/ 0 w 62"/>
                    <a:gd name="T39" fmla="*/ 17 h 55"/>
                    <a:gd name="T40" fmla="*/ 4 w 62"/>
                    <a:gd name="T41" fmla="*/ 11 h 55"/>
                    <a:gd name="T42" fmla="*/ 6 w 62"/>
                    <a:gd name="T43" fmla="*/ 6 h 55"/>
                    <a:gd name="T44" fmla="*/ 8 w 62"/>
                    <a:gd name="T45" fmla="*/ 0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" h="55">
                      <a:moveTo>
                        <a:pt x="8" y="0"/>
                      </a:moveTo>
                      <a:lnTo>
                        <a:pt x="50" y="0"/>
                      </a:lnTo>
                      <a:lnTo>
                        <a:pt x="54" y="0"/>
                      </a:lnTo>
                      <a:lnTo>
                        <a:pt x="58" y="2"/>
                      </a:lnTo>
                      <a:lnTo>
                        <a:pt x="60" y="6"/>
                      </a:lnTo>
                      <a:lnTo>
                        <a:pt x="62" y="11"/>
                      </a:lnTo>
                      <a:lnTo>
                        <a:pt x="62" y="55"/>
                      </a:lnTo>
                      <a:lnTo>
                        <a:pt x="52" y="55"/>
                      </a:lnTo>
                      <a:lnTo>
                        <a:pt x="52" y="19"/>
                      </a:lnTo>
                      <a:lnTo>
                        <a:pt x="48" y="15"/>
                      </a:lnTo>
                      <a:lnTo>
                        <a:pt x="46" y="19"/>
                      </a:lnTo>
                      <a:lnTo>
                        <a:pt x="46" y="55"/>
                      </a:lnTo>
                      <a:lnTo>
                        <a:pt x="30" y="55"/>
                      </a:lnTo>
                      <a:lnTo>
                        <a:pt x="30" y="37"/>
                      </a:lnTo>
                      <a:lnTo>
                        <a:pt x="30" y="31"/>
                      </a:lnTo>
                      <a:lnTo>
                        <a:pt x="26" y="25"/>
                      </a:lnTo>
                      <a:lnTo>
                        <a:pt x="22" y="21"/>
                      </a:lnTo>
                      <a:lnTo>
                        <a:pt x="16" y="17"/>
                      </a:lnTo>
                      <a:lnTo>
                        <a:pt x="10" y="17"/>
                      </a:lnTo>
                      <a:lnTo>
                        <a:pt x="0" y="17"/>
                      </a:lnTo>
                      <a:lnTo>
                        <a:pt x="4" y="11"/>
                      </a:lnTo>
                      <a:lnTo>
                        <a:pt x="6" y="6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0" name="Freeform 144"/>
                <p:cNvSpPr>
                  <a:spLocks/>
                </p:cNvSpPr>
                <p:nvPr/>
              </p:nvSpPr>
              <p:spPr bwMode="auto">
                <a:xfrm>
                  <a:off x="5758850" y="4700174"/>
                  <a:ext cx="155658" cy="131711"/>
                </a:xfrm>
                <a:custGeom>
                  <a:avLst/>
                  <a:gdLst>
                    <a:gd name="T0" fmla="*/ 12 w 65"/>
                    <a:gd name="T1" fmla="*/ 0 h 55"/>
                    <a:gd name="T2" fmla="*/ 57 w 65"/>
                    <a:gd name="T3" fmla="*/ 0 h 55"/>
                    <a:gd name="T4" fmla="*/ 59 w 65"/>
                    <a:gd name="T5" fmla="*/ 6 h 55"/>
                    <a:gd name="T6" fmla="*/ 61 w 65"/>
                    <a:gd name="T7" fmla="*/ 11 h 55"/>
                    <a:gd name="T8" fmla="*/ 65 w 65"/>
                    <a:gd name="T9" fmla="*/ 17 h 55"/>
                    <a:gd name="T10" fmla="*/ 55 w 65"/>
                    <a:gd name="T11" fmla="*/ 17 h 55"/>
                    <a:gd name="T12" fmla="*/ 49 w 65"/>
                    <a:gd name="T13" fmla="*/ 17 h 55"/>
                    <a:gd name="T14" fmla="*/ 43 w 65"/>
                    <a:gd name="T15" fmla="*/ 21 h 55"/>
                    <a:gd name="T16" fmla="*/ 39 w 65"/>
                    <a:gd name="T17" fmla="*/ 25 h 55"/>
                    <a:gd name="T18" fmla="*/ 35 w 65"/>
                    <a:gd name="T19" fmla="*/ 31 h 55"/>
                    <a:gd name="T20" fmla="*/ 35 w 65"/>
                    <a:gd name="T21" fmla="*/ 37 h 55"/>
                    <a:gd name="T22" fmla="*/ 35 w 65"/>
                    <a:gd name="T23" fmla="*/ 55 h 55"/>
                    <a:gd name="T24" fmla="*/ 16 w 65"/>
                    <a:gd name="T25" fmla="*/ 55 h 55"/>
                    <a:gd name="T26" fmla="*/ 16 w 65"/>
                    <a:gd name="T27" fmla="*/ 19 h 55"/>
                    <a:gd name="T28" fmla="*/ 14 w 65"/>
                    <a:gd name="T29" fmla="*/ 15 h 55"/>
                    <a:gd name="T30" fmla="*/ 10 w 65"/>
                    <a:gd name="T31" fmla="*/ 19 h 55"/>
                    <a:gd name="T32" fmla="*/ 10 w 65"/>
                    <a:gd name="T33" fmla="*/ 55 h 55"/>
                    <a:gd name="T34" fmla="*/ 0 w 65"/>
                    <a:gd name="T35" fmla="*/ 55 h 55"/>
                    <a:gd name="T36" fmla="*/ 0 w 65"/>
                    <a:gd name="T37" fmla="*/ 11 h 55"/>
                    <a:gd name="T38" fmla="*/ 2 w 65"/>
                    <a:gd name="T39" fmla="*/ 6 h 55"/>
                    <a:gd name="T40" fmla="*/ 4 w 65"/>
                    <a:gd name="T41" fmla="*/ 2 h 55"/>
                    <a:gd name="T42" fmla="*/ 8 w 65"/>
                    <a:gd name="T43" fmla="*/ 0 h 55"/>
                    <a:gd name="T44" fmla="*/ 12 w 65"/>
                    <a:gd name="T45" fmla="*/ 0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5" h="55">
                      <a:moveTo>
                        <a:pt x="12" y="0"/>
                      </a:moveTo>
                      <a:lnTo>
                        <a:pt x="57" y="0"/>
                      </a:lnTo>
                      <a:lnTo>
                        <a:pt x="59" y="6"/>
                      </a:lnTo>
                      <a:lnTo>
                        <a:pt x="61" y="11"/>
                      </a:lnTo>
                      <a:lnTo>
                        <a:pt x="65" y="17"/>
                      </a:lnTo>
                      <a:lnTo>
                        <a:pt x="55" y="17"/>
                      </a:lnTo>
                      <a:lnTo>
                        <a:pt x="49" y="17"/>
                      </a:lnTo>
                      <a:lnTo>
                        <a:pt x="43" y="21"/>
                      </a:lnTo>
                      <a:lnTo>
                        <a:pt x="39" y="25"/>
                      </a:lnTo>
                      <a:lnTo>
                        <a:pt x="35" y="31"/>
                      </a:lnTo>
                      <a:lnTo>
                        <a:pt x="35" y="37"/>
                      </a:lnTo>
                      <a:lnTo>
                        <a:pt x="35" y="55"/>
                      </a:lnTo>
                      <a:lnTo>
                        <a:pt x="16" y="55"/>
                      </a:lnTo>
                      <a:lnTo>
                        <a:pt x="16" y="19"/>
                      </a:lnTo>
                      <a:lnTo>
                        <a:pt x="14" y="15"/>
                      </a:lnTo>
                      <a:lnTo>
                        <a:pt x="10" y="19"/>
                      </a:lnTo>
                      <a:lnTo>
                        <a:pt x="10" y="55"/>
                      </a:lnTo>
                      <a:lnTo>
                        <a:pt x="0" y="55"/>
                      </a:lnTo>
                      <a:lnTo>
                        <a:pt x="0" y="11"/>
                      </a:lnTo>
                      <a:lnTo>
                        <a:pt x="2" y="6"/>
                      </a:lnTo>
                      <a:lnTo>
                        <a:pt x="4" y="2"/>
                      </a:lnTo>
                      <a:lnTo>
                        <a:pt x="8" y="0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>
                    <a:ea typeface="微软雅黑" panose="020B0503020204020204" pitchFamily="34" charset="-122"/>
                  </a:endParaRPr>
                </a:p>
              </p:txBody>
            </p:sp>
          </p:grpSp>
        </p:grpSp>
      </p:grpSp>
      <p:sp>
        <p:nvSpPr>
          <p:cNvPr id="23" name="Freeform 145"/>
          <p:cNvSpPr>
            <a:spLocks/>
          </p:cNvSpPr>
          <p:nvPr/>
        </p:nvSpPr>
        <p:spPr bwMode="auto">
          <a:xfrm>
            <a:off x="5758829" y="945413"/>
            <a:ext cx="821394" cy="2732390"/>
          </a:xfrm>
          <a:custGeom>
            <a:avLst/>
            <a:gdLst>
              <a:gd name="T0" fmla="*/ 0 w 343"/>
              <a:gd name="T1" fmla="*/ 0 h 1141"/>
              <a:gd name="T2" fmla="*/ 73 w 343"/>
              <a:gd name="T3" fmla="*/ 51 h 1141"/>
              <a:gd name="T4" fmla="*/ 140 w 343"/>
              <a:gd name="T5" fmla="*/ 110 h 1141"/>
              <a:gd name="T6" fmla="*/ 199 w 343"/>
              <a:gd name="T7" fmla="*/ 177 h 1141"/>
              <a:gd name="T8" fmla="*/ 249 w 343"/>
              <a:gd name="T9" fmla="*/ 251 h 1141"/>
              <a:gd name="T10" fmla="*/ 288 w 343"/>
              <a:gd name="T11" fmla="*/ 332 h 1141"/>
              <a:gd name="T12" fmla="*/ 318 w 343"/>
              <a:gd name="T13" fmla="*/ 420 h 1141"/>
              <a:gd name="T14" fmla="*/ 337 w 343"/>
              <a:gd name="T15" fmla="*/ 509 h 1141"/>
              <a:gd name="T16" fmla="*/ 343 w 343"/>
              <a:gd name="T17" fmla="*/ 605 h 1141"/>
              <a:gd name="T18" fmla="*/ 337 w 343"/>
              <a:gd name="T19" fmla="*/ 699 h 1141"/>
              <a:gd name="T20" fmla="*/ 318 w 343"/>
              <a:gd name="T21" fmla="*/ 789 h 1141"/>
              <a:gd name="T22" fmla="*/ 290 w 343"/>
              <a:gd name="T23" fmla="*/ 874 h 1141"/>
              <a:gd name="T24" fmla="*/ 251 w 343"/>
              <a:gd name="T25" fmla="*/ 956 h 1141"/>
              <a:gd name="T26" fmla="*/ 203 w 343"/>
              <a:gd name="T27" fmla="*/ 1029 h 1141"/>
              <a:gd name="T28" fmla="*/ 146 w 343"/>
              <a:gd name="T29" fmla="*/ 1096 h 1141"/>
              <a:gd name="T30" fmla="*/ 176 w 343"/>
              <a:gd name="T31" fmla="*/ 1127 h 1141"/>
              <a:gd name="T32" fmla="*/ 14 w 343"/>
              <a:gd name="T33" fmla="*/ 1141 h 1141"/>
              <a:gd name="T34" fmla="*/ 28 w 343"/>
              <a:gd name="T35" fmla="*/ 978 h 1141"/>
              <a:gd name="T36" fmla="*/ 61 w 343"/>
              <a:gd name="T37" fmla="*/ 1011 h 1141"/>
              <a:gd name="T38" fmla="*/ 109 w 343"/>
              <a:gd name="T39" fmla="*/ 956 h 1141"/>
              <a:gd name="T40" fmla="*/ 150 w 343"/>
              <a:gd name="T41" fmla="*/ 895 h 1141"/>
              <a:gd name="T42" fmla="*/ 182 w 343"/>
              <a:gd name="T43" fmla="*/ 829 h 1141"/>
              <a:gd name="T44" fmla="*/ 205 w 343"/>
              <a:gd name="T45" fmla="*/ 758 h 1141"/>
              <a:gd name="T46" fmla="*/ 221 w 343"/>
              <a:gd name="T47" fmla="*/ 683 h 1141"/>
              <a:gd name="T48" fmla="*/ 225 w 343"/>
              <a:gd name="T49" fmla="*/ 605 h 1141"/>
              <a:gd name="T50" fmla="*/ 221 w 343"/>
              <a:gd name="T51" fmla="*/ 526 h 1141"/>
              <a:gd name="T52" fmla="*/ 205 w 343"/>
              <a:gd name="T53" fmla="*/ 450 h 1141"/>
              <a:gd name="T54" fmla="*/ 180 w 343"/>
              <a:gd name="T55" fmla="*/ 377 h 1141"/>
              <a:gd name="T56" fmla="*/ 146 w 343"/>
              <a:gd name="T57" fmla="*/ 310 h 1141"/>
              <a:gd name="T58" fmla="*/ 105 w 343"/>
              <a:gd name="T59" fmla="*/ 248 h 1141"/>
              <a:gd name="T60" fmla="*/ 55 w 343"/>
              <a:gd name="T61" fmla="*/ 193 h 1141"/>
              <a:gd name="T62" fmla="*/ 0 w 343"/>
              <a:gd name="T63" fmla="*/ 145 h 1141"/>
              <a:gd name="T64" fmla="*/ 0 w 343"/>
              <a:gd name="T65" fmla="*/ 0 h 1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343" h="1141">
                <a:moveTo>
                  <a:pt x="0" y="0"/>
                </a:moveTo>
                <a:lnTo>
                  <a:pt x="73" y="51"/>
                </a:lnTo>
                <a:lnTo>
                  <a:pt x="140" y="110"/>
                </a:lnTo>
                <a:lnTo>
                  <a:pt x="199" y="177"/>
                </a:lnTo>
                <a:lnTo>
                  <a:pt x="249" y="251"/>
                </a:lnTo>
                <a:lnTo>
                  <a:pt x="288" y="332"/>
                </a:lnTo>
                <a:lnTo>
                  <a:pt x="318" y="420"/>
                </a:lnTo>
                <a:lnTo>
                  <a:pt x="337" y="509"/>
                </a:lnTo>
                <a:lnTo>
                  <a:pt x="343" y="605"/>
                </a:lnTo>
                <a:lnTo>
                  <a:pt x="337" y="699"/>
                </a:lnTo>
                <a:lnTo>
                  <a:pt x="318" y="789"/>
                </a:lnTo>
                <a:lnTo>
                  <a:pt x="290" y="874"/>
                </a:lnTo>
                <a:lnTo>
                  <a:pt x="251" y="956"/>
                </a:lnTo>
                <a:lnTo>
                  <a:pt x="203" y="1029"/>
                </a:lnTo>
                <a:lnTo>
                  <a:pt x="146" y="1096"/>
                </a:lnTo>
                <a:lnTo>
                  <a:pt x="176" y="1127"/>
                </a:lnTo>
                <a:lnTo>
                  <a:pt x="14" y="1141"/>
                </a:lnTo>
                <a:lnTo>
                  <a:pt x="28" y="978"/>
                </a:lnTo>
                <a:lnTo>
                  <a:pt x="61" y="1011"/>
                </a:lnTo>
                <a:lnTo>
                  <a:pt x="109" y="956"/>
                </a:lnTo>
                <a:lnTo>
                  <a:pt x="150" y="895"/>
                </a:lnTo>
                <a:lnTo>
                  <a:pt x="182" y="829"/>
                </a:lnTo>
                <a:lnTo>
                  <a:pt x="205" y="758"/>
                </a:lnTo>
                <a:lnTo>
                  <a:pt x="221" y="683"/>
                </a:lnTo>
                <a:lnTo>
                  <a:pt x="225" y="605"/>
                </a:lnTo>
                <a:lnTo>
                  <a:pt x="221" y="526"/>
                </a:lnTo>
                <a:lnTo>
                  <a:pt x="205" y="450"/>
                </a:lnTo>
                <a:lnTo>
                  <a:pt x="180" y="377"/>
                </a:lnTo>
                <a:lnTo>
                  <a:pt x="146" y="310"/>
                </a:lnTo>
                <a:lnTo>
                  <a:pt x="105" y="248"/>
                </a:lnTo>
                <a:lnTo>
                  <a:pt x="55" y="193"/>
                </a:lnTo>
                <a:lnTo>
                  <a:pt x="0" y="1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ea typeface="微软雅黑" panose="020B0503020204020204" pitchFamily="34" charset="-122"/>
            </a:endParaRPr>
          </a:p>
        </p:txBody>
      </p:sp>
      <p:sp>
        <p:nvSpPr>
          <p:cNvPr id="24" name="Freeform 146"/>
          <p:cNvSpPr>
            <a:spLocks/>
          </p:cNvSpPr>
          <p:nvPr/>
        </p:nvSpPr>
        <p:spPr bwMode="auto">
          <a:xfrm>
            <a:off x="2351123" y="2712725"/>
            <a:ext cx="821394" cy="2732390"/>
          </a:xfrm>
          <a:custGeom>
            <a:avLst/>
            <a:gdLst>
              <a:gd name="T0" fmla="*/ 329 w 343"/>
              <a:gd name="T1" fmla="*/ 0 h 1141"/>
              <a:gd name="T2" fmla="*/ 315 w 343"/>
              <a:gd name="T3" fmla="*/ 163 h 1141"/>
              <a:gd name="T4" fmla="*/ 283 w 343"/>
              <a:gd name="T5" fmla="*/ 130 h 1141"/>
              <a:gd name="T6" fmla="*/ 234 w 343"/>
              <a:gd name="T7" fmla="*/ 185 h 1141"/>
              <a:gd name="T8" fmla="*/ 193 w 343"/>
              <a:gd name="T9" fmla="*/ 246 h 1141"/>
              <a:gd name="T10" fmla="*/ 163 w 343"/>
              <a:gd name="T11" fmla="*/ 311 h 1141"/>
              <a:gd name="T12" fmla="*/ 138 w 343"/>
              <a:gd name="T13" fmla="*/ 383 h 1141"/>
              <a:gd name="T14" fmla="*/ 122 w 343"/>
              <a:gd name="T15" fmla="*/ 458 h 1141"/>
              <a:gd name="T16" fmla="*/ 118 w 343"/>
              <a:gd name="T17" fmla="*/ 536 h 1141"/>
              <a:gd name="T18" fmla="*/ 122 w 343"/>
              <a:gd name="T19" fmla="*/ 615 h 1141"/>
              <a:gd name="T20" fmla="*/ 138 w 343"/>
              <a:gd name="T21" fmla="*/ 691 h 1141"/>
              <a:gd name="T22" fmla="*/ 163 w 343"/>
              <a:gd name="T23" fmla="*/ 764 h 1141"/>
              <a:gd name="T24" fmla="*/ 197 w 343"/>
              <a:gd name="T25" fmla="*/ 831 h 1141"/>
              <a:gd name="T26" fmla="*/ 240 w 343"/>
              <a:gd name="T27" fmla="*/ 892 h 1141"/>
              <a:gd name="T28" fmla="*/ 289 w 343"/>
              <a:gd name="T29" fmla="*/ 947 h 1141"/>
              <a:gd name="T30" fmla="*/ 343 w 343"/>
              <a:gd name="T31" fmla="*/ 996 h 1141"/>
              <a:gd name="T32" fmla="*/ 343 w 343"/>
              <a:gd name="T33" fmla="*/ 1141 h 1141"/>
              <a:gd name="T34" fmla="*/ 270 w 343"/>
              <a:gd name="T35" fmla="*/ 1090 h 1141"/>
              <a:gd name="T36" fmla="*/ 203 w 343"/>
              <a:gd name="T37" fmla="*/ 1031 h 1141"/>
              <a:gd name="T38" fmla="*/ 145 w 343"/>
              <a:gd name="T39" fmla="*/ 964 h 1141"/>
              <a:gd name="T40" fmla="*/ 96 w 343"/>
              <a:gd name="T41" fmla="*/ 890 h 1141"/>
              <a:gd name="T42" fmla="*/ 55 w 343"/>
              <a:gd name="T43" fmla="*/ 809 h 1141"/>
              <a:gd name="T44" fmla="*/ 25 w 343"/>
              <a:gd name="T45" fmla="*/ 721 h 1141"/>
              <a:gd name="T46" fmla="*/ 7 w 343"/>
              <a:gd name="T47" fmla="*/ 631 h 1141"/>
              <a:gd name="T48" fmla="*/ 0 w 343"/>
              <a:gd name="T49" fmla="*/ 536 h 1141"/>
              <a:gd name="T50" fmla="*/ 7 w 343"/>
              <a:gd name="T51" fmla="*/ 442 h 1141"/>
              <a:gd name="T52" fmla="*/ 25 w 343"/>
              <a:gd name="T53" fmla="*/ 352 h 1141"/>
              <a:gd name="T54" fmla="*/ 53 w 343"/>
              <a:gd name="T55" fmla="*/ 267 h 1141"/>
              <a:gd name="T56" fmla="*/ 92 w 343"/>
              <a:gd name="T57" fmla="*/ 185 h 1141"/>
              <a:gd name="T58" fmla="*/ 140 w 343"/>
              <a:gd name="T59" fmla="*/ 112 h 1141"/>
              <a:gd name="T60" fmla="*/ 197 w 343"/>
              <a:gd name="T61" fmla="*/ 44 h 1141"/>
              <a:gd name="T62" fmla="*/ 167 w 343"/>
              <a:gd name="T63" fmla="*/ 14 h 1141"/>
              <a:gd name="T64" fmla="*/ 329 w 343"/>
              <a:gd name="T65" fmla="*/ 0 h 1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343" h="1141">
                <a:moveTo>
                  <a:pt x="329" y="0"/>
                </a:moveTo>
                <a:lnTo>
                  <a:pt x="315" y="163"/>
                </a:lnTo>
                <a:lnTo>
                  <a:pt x="283" y="130"/>
                </a:lnTo>
                <a:lnTo>
                  <a:pt x="234" y="185"/>
                </a:lnTo>
                <a:lnTo>
                  <a:pt x="193" y="246"/>
                </a:lnTo>
                <a:lnTo>
                  <a:pt x="163" y="311"/>
                </a:lnTo>
                <a:lnTo>
                  <a:pt x="138" y="383"/>
                </a:lnTo>
                <a:lnTo>
                  <a:pt x="122" y="458"/>
                </a:lnTo>
                <a:lnTo>
                  <a:pt x="118" y="536"/>
                </a:lnTo>
                <a:lnTo>
                  <a:pt x="122" y="615"/>
                </a:lnTo>
                <a:lnTo>
                  <a:pt x="138" y="691"/>
                </a:lnTo>
                <a:lnTo>
                  <a:pt x="163" y="764"/>
                </a:lnTo>
                <a:lnTo>
                  <a:pt x="197" y="831"/>
                </a:lnTo>
                <a:lnTo>
                  <a:pt x="240" y="892"/>
                </a:lnTo>
                <a:lnTo>
                  <a:pt x="289" y="947"/>
                </a:lnTo>
                <a:lnTo>
                  <a:pt x="343" y="996"/>
                </a:lnTo>
                <a:lnTo>
                  <a:pt x="343" y="1141"/>
                </a:lnTo>
                <a:lnTo>
                  <a:pt x="270" y="1090"/>
                </a:lnTo>
                <a:lnTo>
                  <a:pt x="203" y="1031"/>
                </a:lnTo>
                <a:lnTo>
                  <a:pt x="145" y="964"/>
                </a:lnTo>
                <a:lnTo>
                  <a:pt x="96" y="890"/>
                </a:lnTo>
                <a:lnTo>
                  <a:pt x="55" y="809"/>
                </a:lnTo>
                <a:lnTo>
                  <a:pt x="25" y="721"/>
                </a:lnTo>
                <a:lnTo>
                  <a:pt x="7" y="631"/>
                </a:lnTo>
                <a:lnTo>
                  <a:pt x="0" y="536"/>
                </a:lnTo>
                <a:lnTo>
                  <a:pt x="7" y="442"/>
                </a:lnTo>
                <a:lnTo>
                  <a:pt x="25" y="352"/>
                </a:lnTo>
                <a:lnTo>
                  <a:pt x="53" y="267"/>
                </a:lnTo>
                <a:lnTo>
                  <a:pt x="92" y="185"/>
                </a:lnTo>
                <a:lnTo>
                  <a:pt x="140" y="112"/>
                </a:lnTo>
                <a:lnTo>
                  <a:pt x="197" y="44"/>
                </a:lnTo>
                <a:lnTo>
                  <a:pt x="167" y="14"/>
                </a:lnTo>
                <a:lnTo>
                  <a:pt x="329" y="0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ea typeface="微软雅黑" panose="020B0503020204020204" pitchFamily="34" charset="-122"/>
            </a:endParaRPr>
          </a:p>
        </p:txBody>
      </p:sp>
      <p:sp>
        <p:nvSpPr>
          <p:cNvPr id="25" name="TextBox 23"/>
          <p:cNvSpPr txBox="1"/>
          <p:nvPr/>
        </p:nvSpPr>
        <p:spPr>
          <a:xfrm>
            <a:off x="0" y="4125327"/>
            <a:ext cx="231472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lnSpc>
                <a:spcPct val="130000"/>
              </a:lnSpc>
              <a:buFont typeface="+mj-lt"/>
              <a:buAutoNum type="arabicPeriod"/>
            </a:pPr>
            <a:r>
              <a:rPr lang="en-US" altLang="zh-CN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UAV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接入</a:t>
            </a:r>
            <a:r>
              <a:rPr lang="en-US" altLang="zh-CN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OA</a:t>
            </a:r>
          </a:p>
          <a:p>
            <a:pPr marL="228600" indent="-228600">
              <a:lnSpc>
                <a:spcPct val="130000"/>
              </a:lnSpc>
              <a:buFont typeface="+mj-lt"/>
              <a:buAutoNum type="arabicPeriod"/>
            </a:pPr>
            <a:r>
              <a:rPr lang="en-US" altLang="zh-CN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Soul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需求搜集改造</a:t>
            </a:r>
            <a:endParaRPr lang="en-US" altLang="zh-CN" sz="1000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228600" indent="-228600">
              <a:lnSpc>
                <a:spcPct val="130000"/>
              </a:lnSpc>
              <a:buFont typeface="+mj-lt"/>
              <a:buAutoNum type="arabicPeriod"/>
            </a:pP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云平台</a:t>
            </a:r>
            <a:r>
              <a:rPr lang="en-US" altLang="zh-CN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2.0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功能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优化设计</a:t>
            </a:r>
            <a:endParaRPr lang="en-US" altLang="zh-CN" sz="1000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228600" indent="-228600">
              <a:lnSpc>
                <a:spcPct val="130000"/>
              </a:lnSpc>
              <a:buFont typeface="+mj-lt"/>
              <a:buAutoNum type="arabicPeriod"/>
            </a:pP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云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平台日常功能维护优化</a:t>
            </a:r>
            <a:endParaRPr lang="en-US" altLang="zh-CN" sz="1000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6" name="TextBox 24"/>
          <p:cNvSpPr txBox="1"/>
          <p:nvPr/>
        </p:nvSpPr>
        <p:spPr>
          <a:xfrm>
            <a:off x="-18586" y="3667284"/>
            <a:ext cx="233910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云平台功能优化</a:t>
            </a:r>
            <a:endParaRPr lang="id-ID" altLang="zh-CN" sz="24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</p:txBody>
      </p:sp>
      <p:sp>
        <p:nvSpPr>
          <p:cNvPr id="27" name="TextBox 23"/>
          <p:cNvSpPr txBox="1"/>
          <p:nvPr/>
        </p:nvSpPr>
        <p:spPr>
          <a:xfrm>
            <a:off x="1553322" y="1408246"/>
            <a:ext cx="3003577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成都平台推广技术支持、</a:t>
            </a:r>
            <a:r>
              <a:rPr lang="en-US" altLang="zh-CN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OA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上线技术支持</a:t>
            </a:r>
            <a:endParaRPr lang="en-GB" altLang="zh-CN" sz="10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8" name="TextBox 24"/>
          <p:cNvSpPr txBox="1"/>
          <p:nvPr/>
        </p:nvSpPr>
        <p:spPr>
          <a:xfrm>
            <a:off x="2525574" y="940623"/>
            <a:ext cx="141577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技术支持</a:t>
            </a:r>
            <a:endParaRPr lang="id-ID" altLang="zh-CN" sz="24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</p:txBody>
      </p:sp>
      <p:sp>
        <p:nvSpPr>
          <p:cNvPr id="29" name="TextBox 23"/>
          <p:cNvSpPr txBox="1"/>
          <p:nvPr/>
        </p:nvSpPr>
        <p:spPr>
          <a:xfrm>
            <a:off x="4897922" y="4258451"/>
            <a:ext cx="412512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lnSpc>
                <a:spcPct val="130000"/>
              </a:lnSpc>
              <a:buFont typeface="+mj-lt"/>
              <a:buAutoNum type="arabicPeriod"/>
            </a:pPr>
            <a:r>
              <a:rPr lang="en-US" altLang="zh-CN" sz="1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Chinajoy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项目维护</a:t>
            </a:r>
            <a:endParaRPr lang="en-US" altLang="zh-CN" sz="1000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228600" indent="-228600">
              <a:lnSpc>
                <a:spcPct val="130000"/>
              </a:lnSpc>
              <a:buFont typeface="+mj-lt"/>
              <a:buAutoNum type="arabicPeriod"/>
            </a:pPr>
            <a:r>
              <a:rPr lang="en-US" altLang="zh-CN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java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（响应式编程）、云新技术研究</a:t>
            </a:r>
            <a:endParaRPr lang="en-GB" altLang="zh-CN" sz="10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0" name="TextBox 24"/>
          <p:cNvSpPr txBox="1"/>
          <p:nvPr/>
        </p:nvSpPr>
        <p:spPr>
          <a:xfrm>
            <a:off x="4877450" y="3865612"/>
            <a:ext cx="80021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其他</a:t>
            </a:r>
            <a:endParaRPr lang="id-ID" altLang="zh-CN" sz="24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</p:txBody>
      </p:sp>
      <p:sp>
        <p:nvSpPr>
          <p:cNvPr id="31" name="TextBox 23"/>
          <p:cNvSpPr txBox="1"/>
          <p:nvPr/>
        </p:nvSpPr>
        <p:spPr>
          <a:xfrm>
            <a:off x="6900049" y="1718079"/>
            <a:ext cx="2243951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成都云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平台推广跟进</a:t>
            </a:r>
            <a:endParaRPr lang="en-US" altLang="zh-CN" sz="1000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2" name="TextBox 24"/>
          <p:cNvSpPr txBox="1"/>
          <p:nvPr/>
        </p:nvSpPr>
        <p:spPr>
          <a:xfrm>
            <a:off x="6900049" y="1250456"/>
            <a:ext cx="141577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平台推广</a:t>
            </a:r>
            <a:endParaRPr lang="id-ID" altLang="zh-CN" sz="24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8472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000"/>
                            </p:stCondLst>
                            <p:childTnLst>
                              <p:par>
                                <p:cTn id="2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500"/>
                            </p:stCondLst>
                            <p:childTnLst>
                              <p:par>
                                <p:cTn id="31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3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3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000"/>
                            </p:stCondLst>
                            <p:childTnLst>
                              <p:par>
                                <p:cTn id="40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4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2500"/>
                            </p:stCondLst>
                            <p:childTnLst>
                              <p:par>
                                <p:cTn id="49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5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5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3000"/>
                            </p:stCondLst>
                            <p:childTnLst>
                              <p:par>
                                <p:cTn id="58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0" dur="500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6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4" dur="500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6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  <p:bldP spid="23" grpId="0" animBg="1"/>
      <p:bldP spid="24" grpId="0" animBg="1"/>
      <p:bldP spid="25" grpId="0"/>
      <p:bldP spid="26" grpId="0"/>
      <p:bldP spid="27" grpId="0"/>
      <p:bldP spid="28" grpId="0"/>
      <p:bldP spid="29" grpId="0"/>
      <p:bldP spid="30" grpId="0"/>
      <p:bldP spid="31" grpId="0"/>
      <p:bldP spid="32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60777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>
                <a:sym typeface="Arial" panose="020B0604020202020204" pitchFamily="34" charset="0"/>
              </a:rPr>
              <a:t>目录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3C2100-B283-423C-80F9-9CBC96B9E551}" type="slidenum">
              <a:rPr lang="zh-CN" altLang="en-US" smtClean="0"/>
              <a:pPr/>
              <a:t>1</a:t>
            </a:fld>
            <a:endParaRPr lang="zh-CN" altLang="en-US" dirty="0"/>
          </a:p>
        </p:txBody>
      </p:sp>
      <p:sp>
        <p:nvSpPr>
          <p:cNvPr id="6" name="MH_SubTitle_1"/>
          <p:cNvSpPr/>
          <p:nvPr>
            <p:custDataLst>
              <p:tags r:id="rId1"/>
            </p:custDataLst>
          </p:nvPr>
        </p:nvSpPr>
        <p:spPr>
          <a:xfrm>
            <a:off x="3059832" y="1705372"/>
            <a:ext cx="3867034" cy="637809"/>
          </a:xfrm>
          <a:custGeom>
            <a:avLst/>
            <a:gdLst>
              <a:gd name="connsiteX0" fmla="*/ 122108 w 732631"/>
              <a:gd name="connsiteY0" fmla="*/ 0 h 5307012"/>
              <a:gd name="connsiteX1" fmla="*/ 610523 w 732631"/>
              <a:gd name="connsiteY1" fmla="*/ 0 h 5307012"/>
              <a:gd name="connsiteX2" fmla="*/ 732631 w 732631"/>
              <a:gd name="connsiteY2" fmla="*/ 122108 h 5307012"/>
              <a:gd name="connsiteX3" fmla="*/ 732631 w 732631"/>
              <a:gd name="connsiteY3" fmla="*/ 5307012 h 5307012"/>
              <a:gd name="connsiteX4" fmla="*/ 732631 w 732631"/>
              <a:gd name="connsiteY4" fmla="*/ 5307012 h 5307012"/>
              <a:gd name="connsiteX5" fmla="*/ 0 w 732631"/>
              <a:gd name="connsiteY5" fmla="*/ 5307012 h 5307012"/>
              <a:gd name="connsiteX6" fmla="*/ 0 w 732631"/>
              <a:gd name="connsiteY6" fmla="*/ 5307012 h 5307012"/>
              <a:gd name="connsiteX7" fmla="*/ 0 w 732631"/>
              <a:gd name="connsiteY7" fmla="*/ 122108 h 5307012"/>
              <a:gd name="connsiteX8" fmla="*/ 122108 w 732631"/>
              <a:gd name="connsiteY8" fmla="*/ 0 h 5307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32631" h="5307012">
                <a:moveTo>
                  <a:pt x="732631" y="884525"/>
                </a:moveTo>
                <a:lnTo>
                  <a:pt x="732631" y="4422487"/>
                </a:lnTo>
                <a:cubicBezTo>
                  <a:pt x="732631" y="4910992"/>
                  <a:pt x="725084" y="5307008"/>
                  <a:pt x="715774" y="5307008"/>
                </a:cubicBezTo>
                <a:lnTo>
                  <a:pt x="0" y="5307008"/>
                </a:lnTo>
                <a:lnTo>
                  <a:pt x="0" y="5307008"/>
                </a:lnTo>
                <a:lnTo>
                  <a:pt x="0" y="4"/>
                </a:lnTo>
                <a:lnTo>
                  <a:pt x="0" y="4"/>
                </a:lnTo>
                <a:lnTo>
                  <a:pt x="715774" y="4"/>
                </a:lnTo>
                <a:cubicBezTo>
                  <a:pt x="725084" y="4"/>
                  <a:pt x="732631" y="396020"/>
                  <a:pt x="732631" y="88452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0" tIns="0" rIns="0" bIns="0" spcCol="1270" anchor="ctr">
            <a:noAutofit/>
          </a:bodyPr>
          <a:lstStyle/>
          <a:p>
            <a:pPr algn="ctr"/>
            <a:r>
              <a:rPr lang="zh-CN" altLang="en-US" sz="2800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本月</a:t>
            </a:r>
            <a:r>
              <a:rPr lang="zh-CN" altLang="en-US" sz="2800" dirty="0" smtClean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工作计划</a:t>
            </a:r>
            <a:endParaRPr lang="en-US" altLang="zh-CN" sz="2800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algn="ctr"/>
            <a:r>
              <a:rPr lang="en-US" altLang="zh-CN" sz="1100" dirty="0" smtClean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WORK </a:t>
            </a:r>
            <a:r>
              <a:rPr lang="en-US" altLang="zh-CN" sz="1100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PLAN FOR MONTH</a:t>
            </a:r>
            <a:endParaRPr lang="zh-CN" altLang="en-US" sz="1100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7" name="MH_Other_1"/>
          <p:cNvSpPr/>
          <p:nvPr>
            <p:custDataLst>
              <p:tags r:id="rId2"/>
            </p:custDataLst>
          </p:nvPr>
        </p:nvSpPr>
        <p:spPr>
          <a:xfrm>
            <a:off x="2219460" y="1678588"/>
            <a:ext cx="1029535" cy="696401"/>
          </a:xfrm>
          <a:custGeom>
            <a:avLst/>
            <a:gdLst>
              <a:gd name="connsiteX0" fmla="*/ 0 w 872351"/>
              <a:gd name="connsiteY0" fmla="*/ 0 h 721783"/>
              <a:gd name="connsiteX1" fmla="*/ 697880 w 872351"/>
              <a:gd name="connsiteY1" fmla="*/ 0 h 721783"/>
              <a:gd name="connsiteX2" fmla="*/ 872351 w 872351"/>
              <a:gd name="connsiteY2" fmla="*/ 360892 h 721783"/>
              <a:gd name="connsiteX3" fmla="*/ 697880 w 872351"/>
              <a:gd name="connsiteY3" fmla="*/ 721783 h 721783"/>
              <a:gd name="connsiteX4" fmla="*/ 0 w 872351"/>
              <a:gd name="connsiteY4" fmla="*/ 721783 h 721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72351" h="721783">
                <a:moveTo>
                  <a:pt x="0" y="0"/>
                </a:moveTo>
                <a:lnTo>
                  <a:pt x="697880" y="0"/>
                </a:lnTo>
                <a:lnTo>
                  <a:pt x="872351" y="360892"/>
                </a:lnTo>
                <a:lnTo>
                  <a:pt x="697880" y="721783"/>
                </a:lnTo>
                <a:lnTo>
                  <a:pt x="0" y="721783"/>
                </a:lnTo>
                <a:close/>
              </a:path>
            </a:pathLst>
          </a:custGeom>
          <a:solidFill>
            <a:schemeClr val="accent1"/>
          </a:solidFill>
          <a:ln w="7620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en-US" altLang="zh-CN" sz="4217" dirty="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</a:t>
            </a:r>
            <a:endParaRPr lang="zh-CN" altLang="en-US" sz="4217" dirty="0">
              <a:solidFill>
                <a:srgbClr val="FFFFFF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8" name="MH_SubTitle_2"/>
          <p:cNvSpPr/>
          <p:nvPr>
            <p:custDataLst>
              <p:tags r:id="rId3"/>
            </p:custDataLst>
          </p:nvPr>
        </p:nvSpPr>
        <p:spPr>
          <a:xfrm>
            <a:off x="3059832" y="2525655"/>
            <a:ext cx="3867034" cy="637809"/>
          </a:xfrm>
          <a:custGeom>
            <a:avLst/>
            <a:gdLst>
              <a:gd name="connsiteX0" fmla="*/ 122108 w 732631"/>
              <a:gd name="connsiteY0" fmla="*/ 0 h 5307012"/>
              <a:gd name="connsiteX1" fmla="*/ 610523 w 732631"/>
              <a:gd name="connsiteY1" fmla="*/ 0 h 5307012"/>
              <a:gd name="connsiteX2" fmla="*/ 732631 w 732631"/>
              <a:gd name="connsiteY2" fmla="*/ 122108 h 5307012"/>
              <a:gd name="connsiteX3" fmla="*/ 732631 w 732631"/>
              <a:gd name="connsiteY3" fmla="*/ 5307012 h 5307012"/>
              <a:gd name="connsiteX4" fmla="*/ 732631 w 732631"/>
              <a:gd name="connsiteY4" fmla="*/ 5307012 h 5307012"/>
              <a:gd name="connsiteX5" fmla="*/ 0 w 732631"/>
              <a:gd name="connsiteY5" fmla="*/ 5307012 h 5307012"/>
              <a:gd name="connsiteX6" fmla="*/ 0 w 732631"/>
              <a:gd name="connsiteY6" fmla="*/ 5307012 h 5307012"/>
              <a:gd name="connsiteX7" fmla="*/ 0 w 732631"/>
              <a:gd name="connsiteY7" fmla="*/ 122108 h 5307012"/>
              <a:gd name="connsiteX8" fmla="*/ 122108 w 732631"/>
              <a:gd name="connsiteY8" fmla="*/ 0 h 5307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32631" h="5307012">
                <a:moveTo>
                  <a:pt x="732631" y="884525"/>
                </a:moveTo>
                <a:lnTo>
                  <a:pt x="732631" y="4422487"/>
                </a:lnTo>
                <a:cubicBezTo>
                  <a:pt x="732631" y="4910992"/>
                  <a:pt x="725084" y="5307008"/>
                  <a:pt x="715774" y="5307008"/>
                </a:cubicBezTo>
                <a:lnTo>
                  <a:pt x="0" y="5307008"/>
                </a:lnTo>
                <a:lnTo>
                  <a:pt x="0" y="5307008"/>
                </a:lnTo>
                <a:lnTo>
                  <a:pt x="0" y="4"/>
                </a:lnTo>
                <a:lnTo>
                  <a:pt x="0" y="4"/>
                </a:lnTo>
                <a:lnTo>
                  <a:pt x="715774" y="4"/>
                </a:lnTo>
                <a:cubicBezTo>
                  <a:pt x="725084" y="4"/>
                  <a:pt x="732631" y="396020"/>
                  <a:pt x="732631" y="88452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0" tIns="0" rIns="0" bIns="0" spcCol="1270" anchor="ctr">
            <a:noAutofit/>
          </a:bodyPr>
          <a:lstStyle/>
          <a:p>
            <a:pPr lvl="0" algn="ctr"/>
            <a:r>
              <a:rPr lang="zh-CN" altLang="en-US" sz="2800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工作完成情况</a:t>
            </a:r>
            <a:endParaRPr lang="en-US" altLang="zh-CN" sz="2800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lvl="0" algn="ctr"/>
            <a:r>
              <a:rPr lang="en-US" altLang="zh-CN" sz="1100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COMPLETION OF WORK</a:t>
            </a:r>
            <a:endParaRPr lang="zh-CN" altLang="en-US" sz="1100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9" name="MH_Other_2"/>
          <p:cNvSpPr/>
          <p:nvPr>
            <p:custDataLst>
              <p:tags r:id="rId4"/>
            </p:custDataLst>
          </p:nvPr>
        </p:nvSpPr>
        <p:spPr>
          <a:xfrm>
            <a:off x="2219460" y="2498868"/>
            <a:ext cx="1029535" cy="694727"/>
          </a:xfrm>
          <a:custGeom>
            <a:avLst/>
            <a:gdLst>
              <a:gd name="connsiteX0" fmla="*/ 0 w 872351"/>
              <a:gd name="connsiteY0" fmla="*/ 0 h 721783"/>
              <a:gd name="connsiteX1" fmla="*/ 697880 w 872351"/>
              <a:gd name="connsiteY1" fmla="*/ 0 h 721783"/>
              <a:gd name="connsiteX2" fmla="*/ 872351 w 872351"/>
              <a:gd name="connsiteY2" fmla="*/ 360892 h 721783"/>
              <a:gd name="connsiteX3" fmla="*/ 697880 w 872351"/>
              <a:gd name="connsiteY3" fmla="*/ 721783 h 721783"/>
              <a:gd name="connsiteX4" fmla="*/ 0 w 872351"/>
              <a:gd name="connsiteY4" fmla="*/ 721783 h 721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72351" h="721783">
                <a:moveTo>
                  <a:pt x="0" y="0"/>
                </a:moveTo>
                <a:lnTo>
                  <a:pt x="697880" y="0"/>
                </a:lnTo>
                <a:lnTo>
                  <a:pt x="872351" y="360892"/>
                </a:lnTo>
                <a:lnTo>
                  <a:pt x="697880" y="721783"/>
                </a:lnTo>
                <a:lnTo>
                  <a:pt x="0" y="721783"/>
                </a:lnTo>
                <a:close/>
              </a:path>
            </a:pathLst>
          </a:custGeom>
          <a:solidFill>
            <a:schemeClr val="accent2"/>
          </a:solidFill>
          <a:ln w="7620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en-US" altLang="zh-CN" sz="4217" dirty="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2</a:t>
            </a:r>
            <a:endParaRPr lang="zh-CN" altLang="en-US" sz="4217" dirty="0">
              <a:solidFill>
                <a:srgbClr val="FFFFFF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0" name="MH_SubTitle_3"/>
          <p:cNvSpPr/>
          <p:nvPr>
            <p:custDataLst>
              <p:tags r:id="rId5"/>
            </p:custDataLst>
          </p:nvPr>
        </p:nvSpPr>
        <p:spPr>
          <a:xfrm>
            <a:off x="3059832" y="3344260"/>
            <a:ext cx="3867034" cy="639484"/>
          </a:xfrm>
          <a:custGeom>
            <a:avLst/>
            <a:gdLst>
              <a:gd name="connsiteX0" fmla="*/ 122108 w 732631"/>
              <a:gd name="connsiteY0" fmla="*/ 0 h 5307012"/>
              <a:gd name="connsiteX1" fmla="*/ 610523 w 732631"/>
              <a:gd name="connsiteY1" fmla="*/ 0 h 5307012"/>
              <a:gd name="connsiteX2" fmla="*/ 732631 w 732631"/>
              <a:gd name="connsiteY2" fmla="*/ 122108 h 5307012"/>
              <a:gd name="connsiteX3" fmla="*/ 732631 w 732631"/>
              <a:gd name="connsiteY3" fmla="*/ 5307012 h 5307012"/>
              <a:gd name="connsiteX4" fmla="*/ 732631 w 732631"/>
              <a:gd name="connsiteY4" fmla="*/ 5307012 h 5307012"/>
              <a:gd name="connsiteX5" fmla="*/ 0 w 732631"/>
              <a:gd name="connsiteY5" fmla="*/ 5307012 h 5307012"/>
              <a:gd name="connsiteX6" fmla="*/ 0 w 732631"/>
              <a:gd name="connsiteY6" fmla="*/ 5307012 h 5307012"/>
              <a:gd name="connsiteX7" fmla="*/ 0 w 732631"/>
              <a:gd name="connsiteY7" fmla="*/ 122108 h 5307012"/>
              <a:gd name="connsiteX8" fmla="*/ 122108 w 732631"/>
              <a:gd name="connsiteY8" fmla="*/ 0 h 5307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32631" h="5307012">
                <a:moveTo>
                  <a:pt x="732631" y="884525"/>
                </a:moveTo>
                <a:lnTo>
                  <a:pt x="732631" y="4422487"/>
                </a:lnTo>
                <a:cubicBezTo>
                  <a:pt x="732631" y="4910992"/>
                  <a:pt x="725084" y="5307008"/>
                  <a:pt x="715774" y="5307008"/>
                </a:cubicBezTo>
                <a:lnTo>
                  <a:pt x="0" y="5307008"/>
                </a:lnTo>
                <a:lnTo>
                  <a:pt x="0" y="5307008"/>
                </a:lnTo>
                <a:lnTo>
                  <a:pt x="0" y="4"/>
                </a:lnTo>
                <a:lnTo>
                  <a:pt x="0" y="4"/>
                </a:lnTo>
                <a:lnTo>
                  <a:pt x="715774" y="4"/>
                </a:lnTo>
                <a:cubicBezTo>
                  <a:pt x="725084" y="4"/>
                  <a:pt x="732631" y="396020"/>
                  <a:pt x="732631" y="884525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0" tIns="0" rIns="0" bIns="0" spcCol="1270" anchor="ctr">
            <a:noAutofit/>
          </a:bodyPr>
          <a:lstStyle/>
          <a:p>
            <a:pPr lvl="0" algn="ctr"/>
            <a:r>
              <a:rPr lang="zh-CN" altLang="en-US" sz="2800" dirty="0" smtClean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问题及改进措施</a:t>
            </a:r>
            <a:endParaRPr lang="en-US" altLang="zh-CN" sz="2800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lvl="0" algn="ctr"/>
            <a:r>
              <a:rPr lang="en-US" altLang="zh-CN" sz="1100" dirty="0" smtClean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PROBLEMS </a:t>
            </a:r>
            <a:r>
              <a:rPr lang="en-US" altLang="zh-CN" sz="1100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AND IMPROVEMENT MEASURES </a:t>
            </a:r>
            <a:endParaRPr lang="zh-CN" altLang="en-US" sz="1100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1" name="MH_Other_3"/>
          <p:cNvSpPr/>
          <p:nvPr>
            <p:custDataLst>
              <p:tags r:id="rId6"/>
            </p:custDataLst>
          </p:nvPr>
        </p:nvSpPr>
        <p:spPr>
          <a:xfrm>
            <a:off x="2219460" y="3319149"/>
            <a:ext cx="1029535" cy="694727"/>
          </a:xfrm>
          <a:custGeom>
            <a:avLst/>
            <a:gdLst>
              <a:gd name="connsiteX0" fmla="*/ 0 w 872351"/>
              <a:gd name="connsiteY0" fmla="*/ 0 h 721783"/>
              <a:gd name="connsiteX1" fmla="*/ 697880 w 872351"/>
              <a:gd name="connsiteY1" fmla="*/ 0 h 721783"/>
              <a:gd name="connsiteX2" fmla="*/ 872351 w 872351"/>
              <a:gd name="connsiteY2" fmla="*/ 360892 h 721783"/>
              <a:gd name="connsiteX3" fmla="*/ 697880 w 872351"/>
              <a:gd name="connsiteY3" fmla="*/ 721783 h 721783"/>
              <a:gd name="connsiteX4" fmla="*/ 0 w 872351"/>
              <a:gd name="connsiteY4" fmla="*/ 721783 h 721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72351" h="721783">
                <a:moveTo>
                  <a:pt x="0" y="0"/>
                </a:moveTo>
                <a:lnTo>
                  <a:pt x="697880" y="0"/>
                </a:lnTo>
                <a:lnTo>
                  <a:pt x="872351" y="360892"/>
                </a:lnTo>
                <a:lnTo>
                  <a:pt x="697880" y="721783"/>
                </a:lnTo>
                <a:lnTo>
                  <a:pt x="0" y="721783"/>
                </a:lnTo>
                <a:close/>
              </a:path>
            </a:pathLst>
          </a:custGeom>
          <a:solidFill>
            <a:schemeClr val="accent3"/>
          </a:solidFill>
          <a:ln w="7620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en-US" altLang="zh-CN" sz="4217" dirty="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3</a:t>
            </a:r>
            <a:endParaRPr lang="zh-CN" altLang="en-US" sz="4217" dirty="0">
              <a:solidFill>
                <a:srgbClr val="FFFFFF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2" name="MH_SubTitle_4"/>
          <p:cNvSpPr/>
          <p:nvPr>
            <p:custDataLst>
              <p:tags r:id="rId7"/>
            </p:custDataLst>
          </p:nvPr>
        </p:nvSpPr>
        <p:spPr>
          <a:xfrm>
            <a:off x="3059832" y="4164538"/>
            <a:ext cx="3867034" cy="639484"/>
          </a:xfrm>
          <a:custGeom>
            <a:avLst/>
            <a:gdLst>
              <a:gd name="connsiteX0" fmla="*/ 122108 w 732631"/>
              <a:gd name="connsiteY0" fmla="*/ 0 h 5307012"/>
              <a:gd name="connsiteX1" fmla="*/ 610523 w 732631"/>
              <a:gd name="connsiteY1" fmla="*/ 0 h 5307012"/>
              <a:gd name="connsiteX2" fmla="*/ 732631 w 732631"/>
              <a:gd name="connsiteY2" fmla="*/ 122108 h 5307012"/>
              <a:gd name="connsiteX3" fmla="*/ 732631 w 732631"/>
              <a:gd name="connsiteY3" fmla="*/ 5307012 h 5307012"/>
              <a:gd name="connsiteX4" fmla="*/ 732631 w 732631"/>
              <a:gd name="connsiteY4" fmla="*/ 5307012 h 5307012"/>
              <a:gd name="connsiteX5" fmla="*/ 0 w 732631"/>
              <a:gd name="connsiteY5" fmla="*/ 5307012 h 5307012"/>
              <a:gd name="connsiteX6" fmla="*/ 0 w 732631"/>
              <a:gd name="connsiteY6" fmla="*/ 5307012 h 5307012"/>
              <a:gd name="connsiteX7" fmla="*/ 0 w 732631"/>
              <a:gd name="connsiteY7" fmla="*/ 122108 h 5307012"/>
              <a:gd name="connsiteX8" fmla="*/ 122108 w 732631"/>
              <a:gd name="connsiteY8" fmla="*/ 0 h 5307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32631" h="5307012">
                <a:moveTo>
                  <a:pt x="732631" y="884525"/>
                </a:moveTo>
                <a:lnTo>
                  <a:pt x="732631" y="4422487"/>
                </a:lnTo>
                <a:cubicBezTo>
                  <a:pt x="732631" y="4910992"/>
                  <a:pt x="725084" y="5307008"/>
                  <a:pt x="715774" y="5307008"/>
                </a:cubicBezTo>
                <a:lnTo>
                  <a:pt x="0" y="5307008"/>
                </a:lnTo>
                <a:lnTo>
                  <a:pt x="0" y="5307008"/>
                </a:lnTo>
                <a:lnTo>
                  <a:pt x="0" y="4"/>
                </a:lnTo>
                <a:lnTo>
                  <a:pt x="0" y="4"/>
                </a:lnTo>
                <a:lnTo>
                  <a:pt x="715774" y="4"/>
                </a:lnTo>
                <a:cubicBezTo>
                  <a:pt x="725084" y="4"/>
                  <a:pt x="732631" y="396020"/>
                  <a:pt x="732631" y="884525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0" tIns="0" rIns="0" bIns="0" spcCol="1270" anchor="ctr">
            <a:noAutofit/>
          </a:bodyPr>
          <a:lstStyle/>
          <a:p>
            <a:pPr lvl="0" algn="ctr"/>
            <a:r>
              <a:rPr lang="zh-CN" altLang="en-US" sz="2800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下月</a:t>
            </a:r>
            <a:r>
              <a:rPr lang="zh-CN" altLang="en-US" sz="2800" dirty="0" smtClean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工作</a:t>
            </a:r>
            <a:r>
              <a:rPr lang="zh-CN" altLang="en-US" sz="2800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计划</a:t>
            </a:r>
            <a:endParaRPr lang="en-US" altLang="zh-CN" sz="2800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lvl="0" algn="ctr"/>
            <a:r>
              <a:rPr lang="en-US" altLang="zh-CN" sz="1100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NEXT </a:t>
            </a:r>
            <a:r>
              <a:rPr lang="en-US" altLang="zh-CN" sz="1100" dirty="0" smtClean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MONTH </a:t>
            </a:r>
            <a:r>
              <a:rPr lang="en-US" altLang="zh-CN" sz="1100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WORK PLAN</a:t>
            </a:r>
            <a:endParaRPr lang="zh-CN" altLang="en-US" sz="1100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3" name="MH_Other_4"/>
          <p:cNvSpPr/>
          <p:nvPr>
            <p:custDataLst>
              <p:tags r:id="rId8"/>
            </p:custDataLst>
          </p:nvPr>
        </p:nvSpPr>
        <p:spPr>
          <a:xfrm>
            <a:off x="2219460" y="4137755"/>
            <a:ext cx="1029535" cy="696401"/>
          </a:xfrm>
          <a:custGeom>
            <a:avLst/>
            <a:gdLst>
              <a:gd name="connsiteX0" fmla="*/ 0 w 872351"/>
              <a:gd name="connsiteY0" fmla="*/ 0 h 721783"/>
              <a:gd name="connsiteX1" fmla="*/ 697880 w 872351"/>
              <a:gd name="connsiteY1" fmla="*/ 0 h 721783"/>
              <a:gd name="connsiteX2" fmla="*/ 872351 w 872351"/>
              <a:gd name="connsiteY2" fmla="*/ 360892 h 721783"/>
              <a:gd name="connsiteX3" fmla="*/ 697880 w 872351"/>
              <a:gd name="connsiteY3" fmla="*/ 721783 h 721783"/>
              <a:gd name="connsiteX4" fmla="*/ 0 w 872351"/>
              <a:gd name="connsiteY4" fmla="*/ 721783 h 721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72351" h="721783">
                <a:moveTo>
                  <a:pt x="0" y="0"/>
                </a:moveTo>
                <a:lnTo>
                  <a:pt x="697880" y="0"/>
                </a:lnTo>
                <a:lnTo>
                  <a:pt x="872351" y="360892"/>
                </a:lnTo>
                <a:lnTo>
                  <a:pt x="697880" y="721783"/>
                </a:lnTo>
                <a:lnTo>
                  <a:pt x="0" y="721783"/>
                </a:lnTo>
                <a:close/>
              </a:path>
            </a:pathLst>
          </a:custGeom>
          <a:solidFill>
            <a:schemeClr val="accent4"/>
          </a:solidFill>
          <a:ln w="7620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en-US" altLang="zh-CN" sz="4217" dirty="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4</a:t>
            </a:r>
            <a:endParaRPr lang="zh-CN" altLang="en-US" sz="4217" dirty="0">
              <a:solidFill>
                <a:srgbClr val="FFFFFF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17193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3C2100-B283-423C-80F9-9CBC96B9E551}" type="slidenum">
              <a:rPr lang="zh-CN" altLang="en-US" smtClean="0"/>
              <a:pPr/>
              <a:t>2</a:t>
            </a:fld>
            <a:endParaRPr lang="zh-CN" altLang="en-US" dirty="0"/>
          </a:p>
        </p:txBody>
      </p:sp>
      <p:cxnSp>
        <p:nvCxnSpPr>
          <p:cNvPr id="7" name="直接连接符 6"/>
          <p:cNvCxnSpPr/>
          <p:nvPr>
            <p:custDataLst>
              <p:tags r:id="rId1"/>
            </p:custDataLst>
          </p:nvPr>
        </p:nvCxnSpPr>
        <p:spPr>
          <a:xfrm>
            <a:off x="0" y="4153644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文本框 7"/>
          <p:cNvSpPr txBox="1"/>
          <p:nvPr>
            <p:custDataLst>
              <p:tags r:id="rId2"/>
            </p:custDataLst>
          </p:nvPr>
        </p:nvSpPr>
        <p:spPr>
          <a:xfrm>
            <a:off x="2904583" y="2610365"/>
            <a:ext cx="3427667" cy="490587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altLang="zh-CN" sz="2800" dirty="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PART</a:t>
            </a:r>
          </a:p>
        </p:txBody>
      </p:sp>
      <p:sp>
        <p:nvSpPr>
          <p:cNvPr id="9" name="MH_Entry_1"/>
          <p:cNvSpPr/>
          <p:nvPr>
            <p:custDataLst>
              <p:tags r:id="rId3"/>
            </p:custDataLst>
          </p:nvPr>
        </p:nvSpPr>
        <p:spPr>
          <a:xfrm>
            <a:off x="2555776" y="3353425"/>
            <a:ext cx="4125284" cy="800219"/>
          </a:xfrm>
          <a:custGeom>
            <a:avLst/>
            <a:gdLst>
              <a:gd name="connsiteX0" fmla="*/ 0 w 2520280"/>
              <a:gd name="connsiteY0" fmla="*/ 1584176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1584176 h 1872208"/>
              <a:gd name="connsiteX5" fmla="*/ 0 w 2520280"/>
              <a:gd name="connsiteY5" fmla="*/ 0 h 1872208"/>
              <a:gd name="connsiteX6" fmla="*/ 2520280 w 2520280"/>
              <a:gd name="connsiteY6" fmla="*/ 0 h 1872208"/>
              <a:gd name="connsiteX7" fmla="*/ 2520280 w 2520280"/>
              <a:gd name="connsiteY7" fmla="*/ 288032 h 1872208"/>
              <a:gd name="connsiteX8" fmla="*/ 0 w 2520280"/>
              <a:gd name="connsiteY8" fmla="*/ 0 h 1872208"/>
              <a:gd name="connsiteX0" fmla="*/ 0 w 2520280"/>
              <a:gd name="connsiteY0" fmla="*/ 1584176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1584176 h 1872208"/>
              <a:gd name="connsiteX5" fmla="*/ 0 w 2520280"/>
              <a:gd name="connsiteY5" fmla="*/ 0 h 1872208"/>
              <a:gd name="connsiteX6" fmla="*/ 2520280 w 2520280"/>
              <a:gd name="connsiteY6" fmla="*/ 0 h 1872208"/>
              <a:gd name="connsiteX7" fmla="*/ 0 w 2520280"/>
              <a:gd name="connsiteY7" fmla="*/ 0 h 1872208"/>
              <a:gd name="connsiteX0" fmla="*/ 0 w 2520280"/>
              <a:gd name="connsiteY0" fmla="*/ 1872208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0 h 1872208"/>
              <a:gd name="connsiteX5" fmla="*/ 2520280 w 2520280"/>
              <a:gd name="connsiteY5" fmla="*/ 0 h 1872208"/>
              <a:gd name="connsiteX6" fmla="*/ 0 w 2520280"/>
              <a:gd name="connsiteY6" fmla="*/ 0 h 1872208"/>
              <a:gd name="connsiteX0" fmla="*/ 0 w 2520280"/>
              <a:gd name="connsiteY0" fmla="*/ 1872208 h 1872208"/>
              <a:gd name="connsiteX1" fmla="*/ 2520280 w 2520280"/>
              <a:gd name="connsiteY1" fmla="*/ 1872208 h 1872208"/>
              <a:gd name="connsiteX2" fmla="*/ 0 w 2520280"/>
              <a:gd name="connsiteY2" fmla="*/ 1872208 h 1872208"/>
              <a:gd name="connsiteX3" fmla="*/ 0 w 2520280"/>
              <a:gd name="connsiteY3" fmla="*/ 0 h 1872208"/>
              <a:gd name="connsiteX4" fmla="*/ 2520280 w 2520280"/>
              <a:gd name="connsiteY4" fmla="*/ 0 h 1872208"/>
              <a:gd name="connsiteX5" fmla="*/ 0 w 2520280"/>
              <a:gd name="connsiteY5" fmla="*/ 0 h 1872208"/>
              <a:gd name="connsiteX0" fmla="*/ 0 w 2520280"/>
              <a:gd name="connsiteY0" fmla="*/ 1872208 h 1872208"/>
              <a:gd name="connsiteX1" fmla="*/ 2520280 w 2520280"/>
              <a:gd name="connsiteY1" fmla="*/ 1872208 h 1872208"/>
              <a:gd name="connsiteX2" fmla="*/ 0 w 2520280"/>
              <a:gd name="connsiteY2" fmla="*/ 1872208 h 1872208"/>
              <a:gd name="connsiteX3" fmla="*/ 0 w 2520280"/>
              <a:gd name="connsiteY3" fmla="*/ 0 h 1872208"/>
              <a:gd name="connsiteX4" fmla="*/ 34255 w 2520280"/>
              <a:gd name="connsiteY4" fmla="*/ 0 h 1872208"/>
              <a:gd name="connsiteX5" fmla="*/ 0 w 2520280"/>
              <a:gd name="connsiteY5" fmla="*/ 0 h 1872208"/>
              <a:gd name="connsiteX0" fmla="*/ 0 w 2520280"/>
              <a:gd name="connsiteY0" fmla="*/ 1872208 h 1872208"/>
              <a:gd name="connsiteX1" fmla="*/ 2520280 w 2520280"/>
              <a:gd name="connsiteY1" fmla="*/ 1872208 h 1872208"/>
              <a:gd name="connsiteX2" fmla="*/ 0 w 2520280"/>
              <a:gd name="connsiteY2" fmla="*/ 1872208 h 1872208"/>
              <a:gd name="connsiteX3" fmla="*/ 0 w 2520280"/>
              <a:gd name="connsiteY3" fmla="*/ 0 h 1872208"/>
              <a:gd name="connsiteX4" fmla="*/ 917 w 2520280"/>
              <a:gd name="connsiteY4" fmla="*/ 6036 h 1872208"/>
              <a:gd name="connsiteX5" fmla="*/ 0 w 2520280"/>
              <a:gd name="connsiteY5" fmla="*/ 0 h 1872208"/>
              <a:gd name="connsiteX0" fmla="*/ 0 w 2520280"/>
              <a:gd name="connsiteY0" fmla="*/ 1890314 h 1890314"/>
              <a:gd name="connsiteX1" fmla="*/ 2520280 w 2520280"/>
              <a:gd name="connsiteY1" fmla="*/ 1890314 h 1890314"/>
              <a:gd name="connsiteX2" fmla="*/ 0 w 2520280"/>
              <a:gd name="connsiteY2" fmla="*/ 1890314 h 1890314"/>
              <a:gd name="connsiteX3" fmla="*/ 0 w 2520280"/>
              <a:gd name="connsiteY3" fmla="*/ 18106 h 1890314"/>
              <a:gd name="connsiteX4" fmla="*/ 53304 w 2520280"/>
              <a:gd name="connsiteY4" fmla="*/ 0 h 1890314"/>
              <a:gd name="connsiteX5" fmla="*/ 0 w 2520280"/>
              <a:gd name="connsiteY5" fmla="*/ 18106 h 1890314"/>
              <a:gd name="connsiteX0" fmla="*/ 0 w 2520280"/>
              <a:gd name="connsiteY0" fmla="*/ 1872208 h 1872208"/>
              <a:gd name="connsiteX1" fmla="*/ 2520280 w 2520280"/>
              <a:gd name="connsiteY1" fmla="*/ 1872208 h 1872208"/>
              <a:gd name="connsiteX2" fmla="*/ 0 w 2520280"/>
              <a:gd name="connsiteY2" fmla="*/ 1872208 h 1872208"/>
              <a:gd name="connsiteX3" fmla="*/ 0 w 2520280"/>
              <a:gd name="connsiteY3" fmla="*/ 0 h 1872208"/>
              <a:gd name="connsiteX4" fmla="*/ 916 w 2520280"/>
              <a:gd name="connsiteY4" fmla="*/ 0 h 1872208"/>
              <a:gd name="connsiteX5" fmla="*/ 0 w 2520280"/>
              <a:gd name="connsiteY5" fmla="*/ 0 h 1872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20280" h="1872208">
                <a:moveTo>
                  <a:pt x="0" y="1872208"/>
                </a:moveTo>
                <a:lnTo>
                  <a:pt x="2520280" y="1872208"/>
                </a:lnTo>
                <a:lnTo>
                  <a:pt x="0" y="1872208"/>
                </a:lnTo>
                <a:close/>
                <a:moveTo>
                  <a:pt x="0" y="0"/>
                </a:moveTo>
                <a:lnTo>
                  <a:pt x="916" y="0"/>
                </a:lnTo>
                <a:lnTo>
                  <a:pt x="0" y="0"/>
                </a:lnTo>
                <a:close/>
              </a:path>
            </a:pathLst>
          </a:custGeom>
          <a:noFill/>
          <a:ln w="3175" cap="sq">
            <a:noFill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zh-CN" altLang="en-US" sz="36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本月</a:t>
            </a:r>
            <a:r>
              <a:rPr lang="zh-CN" altLang="en-US" sz="3600" dirty="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工作计划</a:t>
            </a:r>
            <a:endParaRPr lang="en-US" altLang="zh-CN" sz="36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algn="ctr"/>
            <a:r>
              <a:rPr lang="en-US" altLang="zh-CN" sz="1600" dirty="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WORK </a:t>
            </a:r>
            <a:r>
              <a:rPr lang="en-US" altLang="zh-CN" sz="16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PLAN FOR MONTH</a:t>
            </a:r>
            <a:endParaRPr lang="zh-CN" altLang="en-US" sz="16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cxnSp>
        <p:nvCxnSpPr>
          <p:cNvPr id="15" name="直接连接符 14"/>
          <p:cNvCxnSpPr/>
          <p:nvPr>
            <p:custDataLst>
              <p:tags r:id="rId4"/>
            </p:custDataLst>
          </p:nvPr>
        </p:nvCxnSpPr>
        <p:spPr>
          <a:xfrm>
            <a:off x="0" y="2713484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0756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ym typeface="Arial" panose="020B0604020202020204" pitchFamily="34" charset="0"/>
              </a:rPr>
              <a:t>本月工作</a:t>
            </a:r>
            <a:r>
              <a:rPr lang="zh-CN" altLang="en-US" dirty="0" smtClean="0">
                <a:sym typeface="Arial" panose="020B0604020202020204" pitchFamily="34" charset="0"/>
              </a:rPr>
              <a:t>计划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3C2100-B283-423C-80F9-9CBC96B9E551}" type="slidenum">
              <a:rPr lang="zh-CN" altLang="en-US" smtClean="0"/>
              <a:pPr/>
              <a:t>3</a:t>
            </a:fld>
            <a:endParaRPr lang="zh-CN" altLang="en-US" dirty="0"/>
          </a:p>
        </p:txBody>
      </p:sp>
      <p:sp>
        <p:nvSpPr>
          <p:cNvPr id="39" name="Shape 78"/>
          <p:cNvSpPr>
            <a:spLocks/>
          </p:cNvSpPr>
          <p:nvPr/>
        </p:nvSpPr>
        <p:spPr bwMode="auto">
          <a:xfrm>
            <a:off x="5797322" y="1621872"/>
            <a:ext cx="2243377" cy="2243038"/>
          </a:xfrm>
          <a:custGeom>
            <a:avLst/>
            <a:gdLst>
              <a:gd name="T0" fmla="*/ 190945 w 2098179"/>
              <a:gd name="T1" fmla="*/ 1536729 h 2098179"/>
              <a:gd name="T2" fmla="*/ 272202 w 2098179"/>
              <a:gd name="T3" fmla="*/ 1490548 h 2098179"/>
              <a:gd name="T4" fmla="*/ 971283 w 2098179"/>
              <a:gd name="T5" fmla="*/ 1939454 h 2098179"/>
              <a:gd name="T6" fmla="*/ 1737238 w 2098179"/>
              <a:gd name="T7" fmla="*/ 1617905 h 2098179"/>
              <a:gd name="T8" fmla="*/ 1683646 w 2098179"/>
              <a:gd name="T9" fmla="*/ 1587448 h 2098179"/>
              <a:gd name="T10" fmla="*/ 1865514 w 2098179"/>
              <a:gd name="T11" fmla="*/ 1513639 h 2098179"/>
              <a:gd name="T12" fmla="*/ 1873259 w 2098179"/>
              <a:gd name="T13" fmla="*/ 1695210 h 2098179"/>
              <a:gd name="T14" fmla="*/ 1819611 w 2098179"/>
              <a:gd name="T15" fmla="*/ 1664720 h 2098179"/>
              <a:gd name="T16" fmla="*/ 971335 w 2098179"/>
              <a:gd name="T17" fmla="*/ 2033295 h 2098179"/>
              <a:gd name="T18" fmla="*/ 190944 w 2098179"/>
              <a:gd name="T19" fmla="*/ 1536729 h 2098179"/>
              <a:gd name="T20" fmla="*/ 190945 w 2098179"/>
              <a:gd name="T21" fmla="*/ 1536729 h 2098179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098179" h="2098179">
                <a:moveTo>
                  <a:pt x="191044" y="1536366"/>
                </a:moveTo>
                <a:lnTo>
                  <a:pt x="272344" y="1490196"/>
                </a:lnTo>
                <a:cubicBezTo>
                  <a:pt x="417469" y="1745746"/>
                  <a:pt x="679008" y="1913563"/>
                  <a:pt x="971788" y="1938996"/>
                </a:cubicBezTo>
                <a:cubicBezTo>
                  <a:pt x="1264568" y="1964428"/>
                  <a:pt x="1551127" y="1844222"/>
                  <a:pt x="1738142" y="1617523"/>
                </a:cubicBezTo>
                <a:lnTo>
                  <a:pt x="1684522" y="1587073"/>
                </a:lnTo>
                <a:lnTo>
                  <a:pt x="1866485" y="1513281"/>
                </a:lnTo>
                <a:lnTo>
                  <a:pt x="1874234" y="1694809"/>
                </a:lnTo>
                <a:lnTo>
                  <a:pt x="1820558" y="1664327"/>
                </a:lnTo>
                <a:cubicBezTo>
                  <a:pt x="1616341" y="1920402"/>
                  <a:pt x="1298369" y="2058455"/>
                  <a:pt x="971840" y="2032814"/>
                </a:cubicBezTo>
                <a:cubicBezTo>
                  <a:pt x="645311" y="2007173"/>
                  <a:pt x="352785" y="1821178"/>
                  <a:pt x="191043" y="1536366"/>
                </a:cubicBezTo>
                <a:lnTo>
                  <a:pt x="191044" y="153636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/>
          <a:lstStyle/>
          <a:p>
            <a:endParaRPr lang="zh-CN" altLang="en-US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40" name="Shape 69"/>
          <p:cNvSpPr>
            <a:spLocks/>
          </p:cNvSpPr>
          <p:nvPr/>
        </p:nvSpPr>
        <p:spPr bwMode="auto">
          <a:xfrm>
            <a:off x="1102789" y="1621872"/>
            <a:ext cx="2245075" cy="2243038"/>
          </a:xfrm>
          <a:custGeom>
            <a:avLst/>
            <a:gdLst>
              <a:gd name="T0" fmla="*/ 191089 w 2098179"/>
              <a:gd name="T1" fmla="*/ 1536729 h 2098179"/>
              <a:gd name="T2" fmla="*/ 272408 w 2098179"/>
              <a:gd name="T3" fmla="*/ 1490548 h 2098179"/>
              <a:gd name="T4" fmla="*/ 972018 w 2098179"/>
              <a:gd name="T5" fmla="*/ 1939454 h 2098179"/>
              <a:gd name="T6" fmla="*/ 1738553 w 2098179"/>
              <a:gd name="T7" fmla="*/ 1617905 h 2098179"/>
              <a:gd name="T8" fmla="*/ 1684920 w 2098179"/>
              <a:gd name="T9" fmla="*/ 1587448 h 2098179"/>
              <a:gd name="T10" fmla="*/ 1866926 w 2098179"/>
              <a:gd name="T11" fmla="*/ 1513639 h 2098179"/>
              <a:gd name="T12" fmla="*/ 1874677 w 2098179"/>
              <a:gd name="T13" fmla="*/ 1695210 h 2098179"/>
              <a:gd name="T14" fmla="*/ 1820988 w 2098179"/>
              <a:gd name="T15" fmla="*/ 1664720 h 2098179"/>
              <a:gd name="T16" fmla="*/ 972070 w 2098179"/>
              <a:gd name="T17" fmla="*/ 2033295 h 2098179"/>
              <a:gd name="T18" fmla="*/ 191088 w 2098179"/>
              <a:gd name="T19" fmla="*/ 1536729 h 2098179"/>
              <a:gd name="T20" fmla="*/ 191089 w 2098179"/>
              <a:gd name="T21" fmla="*/ 1536729 h 2098179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098179" h="2098179">
                <a:moveTo>
                  <a:pt x="191044" y="1536366"/>
                </a:moveTo>
                <a:lnTo>
                  <a:pt x="272344" y="1490196"/>
                </a:lnTo>
                <a:cubicBezTo>
                  <a:pt x="417469" y="1745746"/>
                  <a:pt x="679008" y="1913563"/>
                  <a:pt x="971788" y="1938996"/>
                </a:cubicBezTo>
                <a:cubicBezTo>
                  <a:pt x="1264568" y="1964428"/>
                  <a:pt x="1551127" y="1844222"/>
                  <a:pt x="1738142" y="1617523"/>
                </a:cubicBezTo>
                <a:lnTo>
                  <a:pt x="1684522" y="1587073"/>
                </a:lnTo>
                <a:lnTo>
                  <a:pt x="1866485" y="1513281"/>
                </a:lnTo>
                <a:lnTo>
                  <a:pt x="1874234" y="1694809"/>
                </a:lnTo>
                <a:lnTo>
                  <a:pt x="1820558" y="1664327"/>
                </a:lnTo>
                <a:cubicBezTo>
                  <a:pt x="1616341" y="1920402"/>
                  <a:pt x="1298369" y="2058455"/>
                  <a:pt x="971840" y="2032814"/>
                </a:cubicBezTo>
                <a:cubicBezTo>
                  <a:pt x="645311" y="2007173"/>
                  <a:pt x="352785" y="1821178"/>
                  <a:pt x="191043" y="1536366"/>
                </a:cubicBezTo>
                <a:lnTo>
                  <a:pt x="191044" y="15363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zh-CN" altLang="en-US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41" name="Freeform 68"/>
          <p:cNvSpPr>
            <a:spLocks/>
          </p:cNvSpPr>
          <p:nvPr/>
        </p:nvSpPr>
        <p:spPr bwMode="auto">
          <a:xfrm>
            <a:off x="185366" y="1585399"/>
            <a:ext cx="1767869" cy="1457465"/>
          </a:xfrm>
          <a:custGeom>
            <a:avLst/>
            <a:gdLst>
              <a:gd name="T0" fmla="*/ 0 w 1368949"/>
              <a:gd name="T1" fmla="*/ 136367 h 1129097"/>
              <a:gd name="T2" fmla="*/ 39923 w 1368949"/>
              <a:gd name="T3" fmla="*/ 39941 h 1129097"/>
              <a:gd name="T4" fmla="*/ 136306 w 1368949"/>
              <a:gd name="T5" fmla="*/ 1 h 1129097"/>
              <a:gd name="T6" fmla="*/ 1516284 w 1368949"/>
              <a:gd name="T7" fmla="*/ 0 h 1129097"/>
              <a:gd name="T8" fmla="*/ 1612665 w 1368949"/>
              <a:gd name="T9" fmla="*/ 39941 h 1129097"/>
              <a:gd name="T10" fmla="*/ 1652587 w 1368949"/>
              <a:gd name="T11" fmla="*/ 136368 h 1129097"/>
              <a:gd name="T12" fmla="*/ 1652588 w 1368949"/>
              <a:gd name="T13" fmla="*/ 1227295 h 1129097"/>
              <a:gd name="T14" fmla="*/ 1612665 w 1368949"/>
              <a:gd name="T15" fmla="*/ 1323721 h 1129097"/>
              <a:gd name="T16" fmla="*/ 1516284 w 1368949"/>
              <a:gd name="T17" fmla="*/ 1363662 h 1129097"/>
              <a:gd name="T18" fmla="*/ 136304 w 1368949"/>
              <a:gd name="T19" fmla="*/ 1363662 h 1129097"/>
              <a:gd name="T20" fmla="*/ 39923 w 1368949"/>
              <a:gd name="T21" fmla="*/ 1323721 h 1129097"/>
              <a:gd name="T22" fmla="*/ 0 w 1368949"/>
              <a:gd name="T23" fmla="*/ 1227295 h 1129097"/>
              <a:gd name="T24" fmla="*/ 0 w 1368949"/>
              <a:gd name="T25" fmla="*/ 136367 h 1129097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368949" h="1129097">
                <a:moveTo>
                  <a:pt x="0" y="112910"/>
                </a:moveTo>
                <a:cubicBezTo>
                  <a:pt x="0" y="82964"/>
                  <a:pt x="11896" y="54245"/>
                  <a:pt x="33071" y="33071"/>
                </a:cubicBezTo>
                <a:cubicBezTo>
                  <a:pt x="54246" y="11896"/>
                  <a:pt x="82965" y="0"/>
                  <a:pt x="112911" y="1"/>
                </a:cubicBezTo>
                <a:lnTo>
                  <a:pt x="1256039" y="0"/>
                </a:lnTo>
                <a:cubicBezTo>
                  <a:pt x="1285985" y="0"/>
                  <a:pt x="1314704" y="11896"/>
                  <a:pt x="1335878" y="33071"/>
                </a:cubicBezTo>
                <a:cubicBezTo>
                  <a:pt x="1357053" y="54246"/>
                  <a:pt x="1368949" y="82965"/>
                  <a:pt x="1368948" y="112911"/>
                </a:cubicBezTo>
                <a:cubicBezTo>
                  <a:pt x="1368948" y="414003"/>
                  <a:pt x="1368949" y="715095"/>
                  <a:pt x="1368949" y="1016187"/>
                </a:cubicBezTo>
                <a:cubicBezTo>
                  <a:pt x="1368949" y="1046133"/>
                  <a:pt x="1357053" y="1074852"/>
                  <a:pt x="1335878" y="1096026"/>
                </a:cubicBezTo>
                <a:cubicBezTo>
                  <a:pt x="1314703" y="1117201"/>
                  <a:pt x="1285984" y="1129097"/>
                  <a:pt x="1256039" y="1129097"/>
                </a:cubicBezTo>
                <a:lnTo>
                  <a:pt x="112910" y="1129097"/>
                </a:lnTo>
                <a:cubicBezTo>
                  <a:pt x="82964" y="1129097"/>
                  <a:pt x="54245" y="1117201"/>
                  <a:pt x="33071" y="1096026"/>
                </a:cubicBezTo>
                <a:cubicBezTo>
                  <a:pt x="11896" y="1074851"/>
                  <a:pt x="0" y="1046132"/>
                  <a:pt x="0" y="1016187"/>
                </a:cubicBezTo>
                <a:lnTo>
                  <a:pt x="0" y="112910"/>
                </a:lnTo>
                <a:close/>
              </a:path>
            </a:pathLst>
          </a:custGeom>
          <a:noFill/>
          <a:ln w="9525" cap="flat" cmpd="sng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100828" tIns="100828" rIns="100828" bIns="441051"/>
          <a:lstStyle/>
          <a:p>
            <a:endParaRPr lang="zh-CN" altLang="en-US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42" name="Freeform 70"/>
          <p:cNvSpPr>
            <a:spLocks noChangeArrowheads="1"/>
          </p:cNvSpPr>
          <p:nvPr/>
        </p:nvSpPr>
        <p:spPr bwMode="auto">
          <a:xfrm>
            <a:off x="574875" y="2726537"/>
            <a:ext cx="1572571" cy="624386"/>
          </a:xfrm>
          <a:custGeom>
            <a:avLst/>
            <a:gdLst>
              <a:gd name="T0" fmla="*/ 0 w 1216844"/>
              <a:gd name="T1" fmla="*/ 70549 h 483898"/>
              <a:gd name="T2" fmla="*/ 20676 w 1216844"/>
              <a:gd name="T3" fmla="*/ 20663 h 483898"/>
              <a:gd name="T4" fmla="*/ 70594 w 1216844"/>
              <a:gd name="T5" fmla="*/ 0 h 483898"/>
              <a:gd name="T6" fmla="*/ 1704613 w 1216844"/>
              <a:gd name="T7" fmla="*/ 0 h 483898"/>
              <a:gd name="T8" fmla="*/ 1754531 w 1216844"/>
              <a:gd name="T9" fmla="*/ 20663 h 483898"/>
              <a:gd name="T10" fmla="*/ 1775207 w 1216844"/>
              <a:gd name="T11" fmla="*/ 70549 h 483898"/>
              <a:gd name="T12" fmla="*/ 1775207 w 1216844"/>
              <a:gd name="T13" fmla="*/ 634933 h 483898"/>
              <a:gd name="T14" fmla="*/ 1754531 w 1216844"/>
              <a:gd name="T15" fmla="*/ 684819 h 483898"/>
              <a:gd name="T16" fmla="*/ 1704613 w 1216844"/>
              <a:gd name="T17" fmla="*/ 705482 h 483898"/>
              <a:gd name="T18" fmla="*/ 70594 w 1216844"/>
              <a:gd name="T19" fmla="*/ 705482 h 483898"/>
              <a:gd name="T20" fmla="*/ 20676 w 1216844"/>
              <a:gd name="T21" fmla="*/ 684819 h 483898"/>
              <a:gd name="T22" fmla="*/ 0 w 1216844"/>
              <a:gd name="T23" fmla="*/ 634933 h 483898"/>
              <a:gd name="T24" fmla="*/ 0 w 1216844"/>
              <a:gd name="T25" fmla="*/ 70549 h 483898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216844"/>
              <a:gd name="T40" fmla="*/ 0 h 483898"/>
              <a:gd name="T41" fmla="*/ 1216844 w 1216844"/>
              <a:gd name="T42" fmla="*/ 483898 h 483898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216844" h="483898">
                <a:moveTo>
                  <a:pt x="0" y="48390"/>
                </a:moveTo>
                <a:cubicBezTo>
                  <a:pt x="0" y="35556"/>
                  <a:pt x="5098" y="23248"/>
                  <a:pt x="14173" y="14173"/>
                </a:cubicBezTo>
                <a:cubicBezTo>
                  <a:pt x="23248" y="5098"/>
                  <a:pt x="35556" y="0"/>
                  <a:pt x="48390" y="0"/>
                </a:cubicBezTo>
                <a:lnTo>
                  <a:pt x="1168454" y="0"/>
                </a:lnTo>
                <a:cubicBezTo>
                  <a:pt x="1181288" y="0"/>
                  <a:pt x="1193596" y="5098"/>
                  <a:pt x="1202671" y="14173"/>
                </a:cubicBezTo>
                <a:cubicBezTo>
                  <a:pt x="1211746" y="23248"/>
                  <a:pt x="1216844" y="35556"/>
                  <a:pt x="1216844" y="48390"/>
                </a:cubicBezTo>
                <a:lnTo>
                  <a:pt x="1216844" y="435508"/>
                </a:lnTo>
                <a:cubicBezTo>
                  <a:pt x="1216844" y="448342"/>
                  <a:pt x="1211746" y="460650"/>
                  <a:pt x="1202671" y="469725"/>
                </a:cubicBezTo>
                <a:cubicBezTo>
                  <a:pt x="1193596" y="478800"/>
                  <a:pt x="1181288" y="483898"/>
                  <a:pt x="1168454" y="483898"/>
                </a:cubicBezTo>
                <a:lnTo>
                  <a:pt x="48390" y="483898"/>
                </a:lnTo>
                <a:cubicBezTo>
                  <a:pt x="35556" y="483898"/>
                  <a:pt x="23248" y="478800"/>
                  <a:pt x="14173" y="469725"/>
                </a:cubicBezTo>
                <a:cubicBezTo>
                  <a:pt x="5098" y="460650"/>
                  <a:pt x="0" y="448342"/>
                  <a:pt x="0" y="435508"/>
                </a:cubicBezTo>
                <a:lnTo>
                  <a:pt x="0" y="4839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lIns="92256" tIns="68147" rIns="92256" bIns="68147" anchor="ctr"/>
          <a:lstStyle>
            <a:lvl1pPr defTabSz="1598613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 defTabSz="1598613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 defTabSz="1598613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 defTabSz="1598613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 defTabSz="1598613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defTabSz="1598613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defTabSz="1598613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defTabSz="1598613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defTabSz="1598613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lnSpc>
                <a:spcPct val="90000"/>
              </a:lnSpc>
              <a:spcAft>
                <a:spcPct val="35000"/>
              </a:spcAft>
            </a:pPr>
            <a:r>
              <a:rPr lang="en-US" altLang="zh-CN" b="1" dirty="0" smtClean="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00</a:t>
            </a:r>
            <a:r>
              <a:rPr lang="en-US" altLang="zh-CN" b="1" dirty="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%</a:t>
            </a:r>
          </a:p>
        </p:txBody>
      </p:sp>
      <p:sp>
        <p:nvSpPr>
          <p:cNvPr id="43" name="Circular Arrow 72"/>
          <p:cNvSpPr>
            <a:spLocks/>
          </p:cNvSpPr>
          <p:nvPr/>
        </p:nvSpPr>
        <p:spPr bwMode="auto">
          <a:xfrm>
            <a:off x="3397204" y="736588"/>
            <a:ext cx="2470940" cy="2467002"/>
          </a:xfrm>
          <a:custGeom>
            <a:avLst/>
            <a:gdLst>
              <a:gd name="T0" fmla="*/ 204840 w 2309415"/>
              <a:gd name="T1" fmla="*/ 614949 h 2309415"/>
              <a:gd name="T2" fmla="*/ 1077572 w 2309415"/>
              <a:gd name="T3" fmla="*/ 65025 h 2309415"/>
              <a:gd name="T4" fmla="*/ 2019266 w 2309415"/>
              <a:gd name="T5" fmla="*/ 486287 h 2309415"/>
              <a:gd name="T6" fmla="*/ 2073036 w 2309415"/>
              <a:gd name="T7" fmla="*/ 455773 h 2309415"/>
              <a:gd name="T8" fmla="*/ 2064309 w 2309415"/>
              <a:gd name="T9" fmla="*/ 638026 h 2309415"/>
              <a:gd name="T10" fmla="*/ 1883310 w 2309415"/>
              <a:gd name="T11" fmla="*/ 563443 h 2309415"/>
              <a:gd name="T12" fmla="*/ 1937039 w 2309415"/>
              <a:gd name="T13" fmla="*/ 532951 h 2309415"/>
              <a:gd name="T14" fmla="*/ 1077533 w 2309415"/>
              <a:gd name="T15" fmla="*/ 158746 h 2309415"/>
              <a:gd name="T16" fmla="*/ 286165 w 2309415"/>
              <a:gd name="T17" fmla="*/ 661102 h 2309415"/>
              <a:gd name="T18" fmla="*/ 204840 w 2309415"/>
              <a:gd name="T19" fmla="*/ 614949 h 230941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309415" h="2309415">
                <a:moveTo>
                  <a:pt x="204805" y="615266"/>
                </a:moveTo>
                <a:cubicBezTo>
                  <a:pt x="385300" y="297432"/>
                  <a:pt x="712794" y="90930"/>
                  <a:pt x="1077387" y="65059"/>
                </a:cubicBezTo>
                <a:cubicBezTo>
                  <a:pt x="1441979" y="39188"/>
                  <a:pt x="1795352" y="197376"/>
                  <a:pt x="2018919" y="486538"/>
                </a:cubicBezTo>
                <a:lnTo>
                  <a:pt x="2072680" y="456008"/>
                </a:lnTo>
                <a:lnTo>
                  <a:pt x="2063954" y="638355"/>
                </a:lnTo>
                <a:lnTo>
                  <a:pt x="1882986" y="563733"/>
                </a:lnTo>
                <a:lnTo>
                  <a:pt x="1936706" y="533226"/>
                </a:lnTo>
                <a:cubicBezTo>
                  <a:pt x="1730231" y="273423"/>
                  <a:pt x="1408209" y="133127"/>
                  <a:pt x="1077348" y="158828"/>
                </a:cubicBezTo>
                <a:cubicBezTo>
                  <a:pt x="746487" y="184529"/>
                  <a:pt x="449993" y="372871"/>
                  <a:pt x="286116" y="661443"/>
                </a:cubicBezTo>
                <a:lnTo>
                  <a:pt x="204805" y="61526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/>
          <a:lstStyle/>
          <a:p>
            <a:endParaRPr lang="zh-CN" altLang="en-US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44" name="Freeform 71"/>
          <p:cNvSpPr>
            <a:spLocks/>
          </p:cNvSpPr>
          <p:nvPr/>
        </p:nvSpPr>
        <p:spPr bwMode="auto">
          <a:xfrm>
            <a:off x="2496346" y="1585399"/>
            <a:ext cx="1769567" cy="1457465"/>
          </a:xfrm>
          <a:custGeom>
            <a:avLst/>
            <a:gdLst>
              <a:gd name="T0" fmla="*/ 0 w 1368949"/>
              <a:gd name="T1" fmla="*/ 164676 h 1129097"/>
              <a:gd name="T2" fmla="*/ 48258 w 1368949"/>
              <a:gd name="T3" fmla="*/ 48234 h 1129097"/>
              <a:gd name="T4" fmla="*/ 164761 w 1368949"/>
              <a:gd name="T5" fmla="*/ 1 h 1129097"/>
              <a:gd name="T6" fmla="*/ 1832828 w 1368949"/>
              <a:gd name="T7" fmla="*/ 0 h 1129097"/>
              <a:gd name="T8" fmla="*/ 1949329 w 1368949"/>
              <a:gd name="T9" fmla="*/ 48234 h 1129097"/>
              <a:gd name="T10" fmla="*/ 1997586 w 1368949"/>
              <a:gd name="T11" fmla="*/ 164679 h 1129097"/>
              <a:gd name="T12" fmla="*/ 1997587 w 1368949"/>
              <a:gd name="T13" fmla="*/ 1482086 h 1129097"/>
              <a:gd name="T14" fmla="*/ 1949329 w 1368949"/>
              <a:gd name="T15" fmla="*/ 1598529 h 1129097"/>
              <a:gd name="T16" fmla="*/ 1832828 w 1368949"/>
              <a:gd name="T17" fmla="*/ 1646762 h 1129097"/>
              <a:gd name="T18" fmla="*/ 164759 w 1368949"/>
              <a:gd name="T19" fmla="*/ 1646762 h 1129097"/>
              <a:gd name="T20" fmla="*/ 48258 w 1368949"/>
              <a:gd name="T21" fmla="*/ 1598529 h 1129097"/>
              <a:gd name="T22" fmla="*/ 0 w 1368949"/>
              <a:gd name="T23" fmla="*/ 1482086 h 1129097"/>
              <a:gd name="T24" fmla="*/ 0 w 1368949"/>
              <a:gd name="T25" fmla="*/ 164676 h 1129097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368949"/>
              <a:gd name="T40" fmla="*/ 0 h 1129097"/>
              <a:gd name="T41" fmla="*/ 1368949 w 1368949"/>
              <a:gd name="T42" fmla="*/ 1129097 h 1129097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368949" h="1129097">
                <a:moveTo>
                  <a:pt x="0" y="112910"/>
                </a:moveTo>
                <a:cubicBezTo>
                  <a:pt x="0" y="82964"/>
                  <a:pt x="11896" y="54245"/>
                  <a:pt x="33071" y="33071"/>
                </a:cubicBezTo>
                <a:cubicBezTo>
                  <a:pt x="54246" y="11896"/>
                  <a:pt x="82965" y="0"/>
                  <a:pt x="112911" y="1"/>
                </a:cubicBezTo>
                <a:lnTo>
                  <a:pt x="1256039" y="0"/>
                </a:lnTo>
                <a:cubicBezTo>
                  <a:pt x="1285985" y="0"/>
                  <a:pt x="1314704" y="11896"/>
                  <a:pt x="1335878" y="33071"/>
                </a:cubicBezTo>
                <a:cubicBezTo>
                  <a:pt x="1357053" y="54246"/>
                  <a:pt x="1368949" y="82965"/>
                  <a:pt x="1368948" y="112911"/>
                </a:cubicBezTo>
                <a:cubicBezTo>
                  <a:pt x="1368948" y="414003"/>
                  <a:pt x="1368949" y="715095"/>
                  <a:pt x="1368949" y="1016187"/>
                </a:cubicBezTo>
                <a:cubicBezTo>
                  <a:pt x="1368949" y="1046133"/>
                  <a:pt x="1357053" y="1074852"/>
                  <a:pt x="1335878" y="1096026"/>
                </a:cubicBezTo>
                <a:cubicBezTo>
                  <a:pt x="1314703" y="1117201"/>
                  <a:pt x="1285984" y="1129097"/>
                  <a:pt x="1256039" y="1129097"/>
                </a:cubicBezTo>
                <a:lnTo>
                  <a:pt x="112910" y="1129097"/>
                </a:lnTo>
                <a:cubicBezTo>
                  <a:pt x="82964" y="1129097"/>
                  <a:pt x="54245" y="1117201"/>
                  <a:pt x="33071" y="1096026"/>
                </a:cubicBezTo>
                <a:cubicBezTo>
                  <a:pt x="11896" y="1074851"/>
                  <a:pt x="0" y="1046132"/>
                  <a:pt x="0" y="1016187"/>
                </a:cubicBezTo>
                <a:lnTo>
                  <a:pt x="0" y="112910"/>
                </a:lnTo>
                <a:close/>
              </a:path>
            </a:pathLst>
          </a:custGeom>
          <a:noFill/>
          <a:ln w="9525">
            <a:solidFill>
              <a:schemeClr val="accent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100828" tIns="441050" rIns="100828" bIns="100830"/>
          <a:lstStyle>
            <a:lvl1pPr marL="342900" indent="-342900" defTabSz="1420813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303213" indent="-303213" defTabSz="1420813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 defTabSz="1420813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 defTabSz="1420813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 defTabSz="1420813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defTabSz="1420813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defTabSz="1420813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defTabSz="1420813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defTabSz="1420813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lvl="1" eaLnBrk="1" hangingPunct="1">
              <a:lnSpc>
                <a:spcPct val="90000"/>
              </a:lnSpc>
              <a:spcAft>
                <a:spcPct val="15000"/>
              </a:spcAft>
              <a:buFont typeface="Arial" panose="020B0604020202020204" pitchFamily="34" charset="0"/>
              <a:buChar char="•"/>
            </a:pPr>
            <a:endParaRPr lang="en-US" altLang="zh-CN" sz="3375">
              <a:solidFill>
                <a:srgbClr val="0E5A8B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lvl="1" eaLnBrk="1" hangingPunct="1">
              <a:lnSpc>
                <a:spcPct val="90000"/>
              </a:lnSpc>
              <a:spcAft>
                <a:spcPct val="15000"/>
              </a:spcAft>
              <a:buFont typeface="Arial" panose="020B0604020202020204" pitchFamily="34" charset="0"/>
              <a:buChar char="•"/>
            </a:pPr>
            <a:endParaRPr lang="en-US" altLang="zh-CN" sz="3375">
              <a:solidFill>
                <a:srgbClr val="0E5A8B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45" name="Freeform 73"/>
          <p:cNvSpPr>
            <a:spLocks noChangeArrowheads="1"/>
          </p:cNvSpPr>
          <p:nvPr/>
        </p:nvSpPr>
        <p:spPr bwMode="auto">
          <a:xfrm>
            <a:off x="2887577" y="1288378"/>
            <a:ext cx="1570872" cy="624386"/>
          </a:xfrm>
          <a:custGeom>
            <a:avLst/>
            <a:gdLst>
              <a:gd name="T0" fmla="*/ 0 w 1216844"/>
              <a:gd name="T1" fmla="*/ 70549 h 483898"/>
              <a:gd name="T2" fmla="*/ 20654 w 1216844"/>
              <a:gd name="T3" fmla="*/ 20663 h 483898"/>
              <a:gd name="T4" fmla="*/ 70518 w 1216844"/>
              <a:gd name="T5" fmla="*/ 0 h 483898"/>
              <a:gd name="T6" fmla="*/ 1702771 w 1216844"/>
              <a:gd name="T7" fmla="*/ 0 h 483898"/>
              <a:gd name="T8" fmla="*/ 1752636 w 1216844"/>
              <a:gd name="T9" fmla="*/ 20663 h 483898"/>
              <a:gd name="T10" fmla="*/ 1773290 w 1216844"/>
              <a:gd name="T11" fmla="*/ 70549 h 483898"/>
              <a:gd name="T12" fmla="*/ 1773290 w 1216844"/>
              <a:gd name="T13" fmla="*/ 634933 h 483898"/>
              <a:gd name="T14" fmla="*/ 1752636 w 1216844"/>
              <a:gd name="T15" fmla="*/ 684819 h 483898"/>
              <a:gd name="T16" fmla="*/ 1702771 w 1216844"/>
              <a:gd name="T17" fmla="*/ 705482 h 483898"/>
              <a:gd name="T18" fmla="*/ 70518 w 1216844"/>
              <a:gd name="T19" fmla="*/ 705482 h 483898"/>
              <a:gd name="T20" fmla="*/ 20654 w 1216844"/>
              <a:gd name="T21" fmla="*/ 684819 h 483898"/>
              <a:gd name="T22" fmla="*/ 0 w 1216844"/>
              <a:gd name="T23" fmla="*/ 634933 h 483898"/>
              <a:gd name="T24" fmla="*/ 0 w 1216844"/>
              <a:gd name="T25" fmla="*/ 70549 h 483898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216844"/>
              <a:gd name="T40" fmla="*/ 0 h 483898"/>
              <a:gd name="T41" fmla="*/ 1216844 w 1216844"/>
              <a:gd name="T42" fmla="*/ 483898 h 483898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216844" h="483898">
                <a:moveTo>
                  <a:pt x="0" y="48390"/>
                </a:moveTo>
                <a:cubicBezTo>
                  <a:pt x="0" y="35556"/>
                  <a:pt x="5098" y="23248"/>
                  <a:pt x="14173" y="14173"/>
                </a:cubicBezTo>
                <a:cubicBezTo>
                  <a:pt x="23248" y="5098"/>
                  <a:pt x="35556" y="0"/>
                  <a:pt x="48390" y="0"/>
                </a:cubicBezTo>
                <a:lnTo>
                  <a:pt x="1168454" y="0"/>
                </a:lnTo>
                <a:cubicBezTo>
                  <a:pt x="1181288" y="0"/>
                  <a:pt x="1193596" y="5098"/>
                  <a:pt x="1202671" y="14173"/>
                </a:cubicBezTo>
                <a:cubicBezTo>
                  <a:pt x="1211746" y="23248"/>
                  <a:pt x="1216844" y="35556"/>
                  <a:pt x="1216844" y="48390"/>
                </a:cubicBezTo>
                <a:lnTo>
                  <a:pt x="1216844" y="435508"/>
                </a:lnTo>
                <a:cubicBezTo>
                  <a:pt x="1216844" y="448342"/>
                  <a:pt x="1211746" y="460650"/>
                  <a:pt x="1202671" y="469725"/>
                </a:cubicBezTo>
                <a:cubicBezTo>
                  <a:pt x="1193596" y="478800"/>
                  <a:pt x="1181288" y="483898"/>
                  <a:pt x="1168454" y="483898"/>
                </a:cubicBezTo>
                <a:lnTo>
                  <a:pt x="48390" y="483898"/>
                </a:lnTo>
                <a:cubicBezTo>
                  <a:pt x="35556" y="483898"/>
                  <a:pt x="23248" y="478800"/>
                  <a:pt x="14173" y="469725"/>
                </a:cubicBezTo>
                <a:cubicBezTo>
                  <a:pt x="5098" y="460650"/>
                  <a:pt x="0" y="448342"/>
                  <a:pt x="0" y="435508"/>
                </a:cubicBezTo>
                <a:lnTo>
                  <a:pt x="0" y="4839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lIns="92256" tIns="68147" rIns="92256" bIns="68147" anchor="ctr"/>
          <a:lstStyle>
            <a:lvl1pPr defTabSz="1598613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 defTabSz="1598613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 defTabSz="1598613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 defTabSz="1598613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 defTabSz="1598613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defTabSz="1598613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defTabSz="1598613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defTabSz="1598613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defTabSz="1598613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lnSpc>
                <a:spcPct val="90000"/>
              </a:lnSpc>
              <a:spcAft>
                <a:spcPct val="35000"/>
              </a:spcAft>
            </a:pPr>
            <a:r>
              <a:rPr lang="en-US" altLang="zh-CN" b="1" dirty="0" smtClean="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00</a:t>
            </a:r>
            <a:r>
              <a:rPr lang="en-US" altLang="zh-CN" b="1" dirty="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%</a:t>
            </a:r>
          </a:p>
        </p:txBody>
      </p:sp>
      <p:sp>
        <p:nvSpPr>
          <p:cNvPr id="46" name="Freeform 74"/>
          <p:cNvSpPr>
            <a:spLocks/>
          </p:cNvSpPr>
          <p:nvPr/>
        </p:nvSpPr>
        <p:spPr bwMode="auto">
          <a:xfrm>
            <a:off x="4747614" y="1585399"/>
            <a:ext cx="1767868" cy="1457465"/>
          </a:xfrm>
          <a:custGeom>
            <a:avLst/>
            <a:gdLst>
              <a:gd name="T0" fmla="*/ 0 w 1368949"/>
              <a:gd name="T1" fmla="*/ 164676 h 1129097"/>
              <a:gd name="T2" fmla="*/ 48212 w 1368949"/>
              <a:gd name="T3" fmla="*/ 48234 h 1129097"/>
              <a:gd name="T4" fmla="*/ 164603 w 1368949"/>
              <a:gd name="T5" fmla="*/ 1 h 1129097"/>
              <a:gd name="T6" fmla="*/ 1831068 w 1368949"/>
              <a:gd name="T7" fmla="*/ 0 h 1129097"/>
              <a:gd name="T8" fmla="*/ 1947457 w 1368949"/>
              <a:gd name="T9" fmla="*/ 48234 h 1129097"/>
              <a:gd name="T10" fmla="*/ 1995668 w 1368949"/>
              <a:gd name="T11" fmla="*/ 164679 h 1129097"/>
              <a:gd name="T12" fmla="*/ 1995669 w 1368949"/>
              <a:gd name="T13" fmla="*/ 1482086 h 1129097"/>
              <a:gd name="T14" fmla="*/ 1947457 w 1368949"/>
              <a:gd name="T15" fmla="*/ 1598529 h 1129097"/>
              <a:gd name="T16" fmla="*/ 1831068 w 1368949"/>
              <a:gd name="T17" fmla="*/ 1646762 h 1129097"/>
              <a:gd name="T18" fmla="*/ 164601 w 1368949"/>
              <a:gd name="T19" fmla="*/ 1646762 h 1129097"/>
              <a:gd name="T20" fmla="*/ 48212 w 1368949"/>
              <a:gd name="T21" fmla="*/ 1598529 h 1129097"/>
              <a:gd name="T22" fmla="*/ 0 w 1368949"/>
              <a:gd name="T23" fmla="*/ 1482086 h 1129097"/>
              <a:gd name="T24" fmla="*/ 0 w 1368949"/>
              <a:gd name="T25" fmla="*/ 164676 h 1129097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368949"/>
              <a:gd name="T40" fmla="*/ 0 h 1129097"/>
              <a:gd name="T41" fmla="*/ 1368949 w 1368949"/>
              <a:gd name="T42" fmla="*/ 1129097 h 1129097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368949" h="1129097">
                <a:moveTo>
                  <a:pt x="0" y="112910"/>
                </a:moveTo>
                <a:cubicBezTo>
                  <a:pt x="0" y="82964"/>
                  <a:pt x="11896" y="54245"/>
                  <a:pt x="33071" y="33071"/>
                </a:cubicBezTo>
                <a:cubicBezTo>
                  <a:pt x="54246" y="11896"/>
                  <a:pt x="82965" y="0"/>
                  <a:pt x="112911" y="1"/>
                </a:cubicBezTo>
                <a:lnTo>
                  <a:pt x="1256039" y="0"/>
                </a:lnTo>
                <a:cubicBezTo>
                  <a:pt x="1285985" y="0"/>
                  <a:pt x="1314704" y="11896"/>
                  <a:pt x="1335878" y="33071"/>
                </a:cubicBezTo>
                <a:cubicBezTo>
                  <a:pt x="1357053" y="54246"/>
                  <a:pt x="1368949" y="82965"/>
                  <a:pt x="1368948" y="112911"/>
                </a:cubicBezTo>
                <a:cubicBezTo>
                  <a:pt x="1368948" y="414003"/>
                  <a:pt x="1368949" y="715095"/>
                  <a:pt x="1368949" y="1016187"/>
                </a:cubicBezTo>
                <a:cubicBezTo>
                  <a:pt x="1368949" y="1046133"/>
                  <a:pt x="1357053" y="1074852"/>
                  <a:pt x="1335878" y="1096026"/>
                </a:cubicBezTo>
                <a:cubicBezTo>
                  <a:pt x="1314703" y="1117201"/>
                  <a:pt x="1285984" y="1129097"/>
                  <a:pt x="1256039" y="1129097"/>
                </a:cubicBezTo>
                <a:lnTo>
                  <a:pt x="112910" y="1129097"/>
                </a:lnTo>
                <a:cubicBezTo>
                  <a:pt x="82964" y="1129097"/>
                  <a:pt x="54245" y="1117201"/>
                  <a:pt x="33071" y="1096026"/>
                </a:cubicBezTo>
                <a:cubicBezTo>
                  <a:pt x="11896" y="1074851"/>
                  <a:pt x="0" y="1046132"/>
                  <a:pt x="0" y="1016187"/>
                </a:cubicBezTo>
                <a:lnTo>
                  <a:pt x="0" y="112910"/>
                </a:lnTo>
                <a:close/>
              </a:path>
            </a:pathLst>
          </a:custGeom>
          <a:noFill/>
          <a:ln w="9525">
            <a:solidFill>
              <a:schemeClr val="accent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100828" tIns="100828" rIns="100828" bIns="441051"/>
          <a:lstStyle>
            <a:lvl1pPr marL="342900" indent="-342900" defTabSz="1420813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303213" indent="-303213" defTabSz="1420813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 defTabSz="1420813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 defTabSz="1420813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 defTabSz="1420813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defTabSz="1420813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defTabSz="1420813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defTabSz="1420813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defTabSz="1420813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lvl="1" eaLnBrk="1" hangingPunct="1">
              <a:lnSpc>
                <a:spcPct val="90000"/>
              </a:lnSpc>
              <a:spcAft>
                <a:spcPct val="15000"/>
              </a:spcAft>
              <a:buFont typeface="Arial" panose="020B0604020202020204" pitchFamily="34" charset="0"/>
              <a:buChar char="•"/>
            </a:pPr>
            <a:endParaRPr lang="en-US" altLang="zh-CN" sz="3375" dirty="0">
              <a:solidFill>
                <a:srgbClr val="000000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lvl="1" eaLnBrk="1" hangingPunct="1">
              <a:lnSpc>
                <a:spcPct val="90000"/>
              </a:lnSpc>
              <a:spcAft>
                <a:spcPct val="15000"/>
              </a:spcAft>
              <a:buFont typeface="Arial" panose="020B0604020202020204" pitchFamily="34" charset="0"/>
              <a:buChar char="•"/>
            </a:pPr>
            <a:endParaRPr lang="en-US" altLang="zh-CN" sz="3375" dirty="0">
              <a:solidFill>
                <a:srgbClr val="000000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47" name="Freeform 75"/>
          <p:cNvSpPr>
            <a:spLocks noChangeArrowheads="1"/>
          </p:cNvSpPr>
          <p:nvPr/>
        </p:nvSpPr>
        <p:spPr bwMode="auto">
          <a:xfrm>
            <a:off x="5137120" y="2726537"/>
            <a:ext cx="1572571" cy="624386"/>
          </a:xfrm>
          <a:custGeom>
            <a:avLst/>
            <a:gdLst>
              <a:gd name="T0" fmla="*/ 0 w 1216844"/>
              <a:gd name="T1" fmla="*/ 70549 h 483898"/>
              <a:gd name="T2" fmla="*/ 20676 w 1216844"/>
              <a:gd name="T3" fmla="*/ 20663 h 483898"/>
              <a:gd name="T4" fmla="*/ 70594 w 1216844"/>
              <a:gd name="T5" fmla="*/ 0 h 483898"/>
              <a:gd name="T6" fmla="*/ 1704613 w 1216844"/>
              <a:gd name="T7" fmla="*/ 0 h 483898"/>
              <a:gd name="T8" fmla="*/ 1754531 w 1216844"/>
              <a:gd name="T9" fmla="*/ 20663 h 483898"/>
              <a:gd name="T10" fmla="*/ 1775207 w 1216844"/>
              <a:gd name="T11" fmla="*/ 70549 h 483898"/>
              <a:gd name="T12" fmla="*/ 1775207 w 1216844"/>
              <a:gd name="T13" fmla="*/ 634933 h 483898"/>
              <a:gd name="T14" fmla="*/ 1754531 w 1216844"/>
              <a:gd name="T15" fmla="*/ 684819 h 483898"/>
              <a:gd name="T16" fmla="*/ 1704613 w 1216844"/>
              <a:gd name="T17" fmla="*/ 705482 h 483898"/>
              <a:gd name="T18" fmla="*/ 70594 w 1216844"/>
              <a:gd name="T19" fmla="*/ 705482 h 483898"/>
              <a:gd name="T20" fmla="*/ 20676 w 1216844"/>
              <a:gd name="T21" fmla="*/ 684819 h 483898"/>
              <a:gd name="T22" fmla="*/ 0 w 1216844"/>
              <a:gd name="T23" fmla="*/ 634933 h 483898"/>
              <a:gd name="T24" fmla="*/ 0 w 1216844"/>
              <a:gd name="T25" fmla="*/ 70549 h 483898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216844"/>
              <a:gd name="T40" fmla="*/ 0 h 483898"/>
              <a:gd name="T41" fmla="*/ 1216844 w 1216844"/>
              <a:gd name="T42" fmla="*/ 483898 h 483898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216844" h="483898">
                <a:moveTo>
                  <a:pt x="0" y="48390"/>
                </a:moveTo>
                <a:cubicBezTo>
                  <a:pt x="0" y="35556"/>
                  <a:pt x="5098" y="23248"/>
                  <a:pt x="14173" y="14173"/>
                </a:cubicBezTo>
                <a:cubicBezTo>
                  <a:pt x="23248" y="5098"/>
                  <a:pt x="35556" y="0"/>
                  <a:pt x="48390" y="0"/>
                </a:cubicBezTo>
                <a:lnTo>
                  <a:pt x="1168454" y="0"/>
                </a:lnTo>
                <a:cubicBezTo>
                  <a:pt x="1181288" y="0"/>
                  <a:pt x="1193596" y="5098"/>
                  <a:pt x="1202671" y="14173"/>
                </a:cubicBezTo>
                <a:cubicBezTo>
                  <a:pt x="1211746" y="23248"/>
                  <a:pt x="1216844" y="35556"/>
                  <a:pt x="1216844" y="48390"/>
                </a:cubicBezTo>
                <a:lnTo>
                  <a:pt x="1216844" y="435508"/>
                </a:lnTo>
                <a:cubicBezTo>
                  <a:pt x="1216844" y="448342"/>
                  <a:pt x="1211746" y="460650"/>
                  <a:pt x="1202671" y="469725"/>
                </a:cubicBezTo>
                <a:cubicBezTo>
                  <a:pt x="1193596" y="478800"/>
                  <a:pt x="1181288" y="483898"/>
                  <a:pt x="1168454" y="483898"/>
                </a:cubicBezTo>
                <a:lnTo>
                  <a:pt x="48390" y="483898"/>
                </a:lnTo>
                <a:cubicBezTo>
                  <a:pt x="35556" y="483898"/>
                  <a:pt x="23248" y="478800"/>
                  <a:pt x="14173" y="469725"/>
                </a:cubicBezTo>
                <a:cubicBezTo>
                  <a:pt x="5098" y="460650"/>
                  <a:pt x="0" y="448342"/>
                  <a:pt x="0" y="435508"/>
                </a:cubicBezTo>
                <a:lnTo>
                  <a:pt x="0" y="4839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lIns="92256" tIns="68147" rIns="92256" bIns="68147" anchor="ctr"/>
          <a:lstStyle>
            <a:lvl1pPr defTabSz="1598613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 defTabSz="1598613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 defTabSz="1598613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 defTabSz="1598613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 defTabSz="1598613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defTabSz="1598613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defTabSz="1598613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defTabSz="1598613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defTabSz="1598613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lnSpc>
                <a:spcPct val="90000"/>
              </a:lnSpc>
              <a:spcAft>
                <a:spcPct val="35000"/>
              </a:spcAft>
            </a:pPr>
            <a:r>
              <a:rPr lang="en-US" altLang="zh-CN" b="1" dirty="0" smtClean="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00</a:t>
            </a:r>
            <a:r>
              <a:rPr lang="en-US" altLang="zh-CN" b="1" dirty="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%</a:t>
            </a:r>
          </a:p>
        </p:txBody>
      </p:sp>
      <p:sp>
        <p:nvSpPr>
          <p:cNvPr id="48" name="Freeform 76"/>
          <p:cNvSpPr>
            <a:spLocks/>
          </p:cNvSpPr>
          <p:nvPr/>
        </p:nvSpPr>
        <p:spPr bwMode="auto">
          <a:xfrm>
            <a:off x="7020272" y="1585399"/>
            <a:ext cx="1767869" cy="1457465"/>
          </a:xfrm>
          <a:custGeom>
            <a:avLst/>
            <a:gdLst>
              <a:gd name="T0" fmla="*/ 0 w 1368949"/>
              <a:gd name="T1" fmla="*/ 164676 h 1129097"/>
              <a:gd name="T2" fmla="*/ 48212 w 1368949"/>
              <a:gd name="T3" fmla="*/ 48234 h 1129097"/>
              <a:gd name="T4" fmla="*/ 164603 w 1368949"/>
              <a:gd name="T5" fmla="*/ 1 h 1129097"/>
              <a:gd name="T6" fmla="*/ 1831069 w 1368949"/>
              <a:gd name="T7" fmla="*/ 0 h 1129097"/>
              <a:gd name="T8" fmla="*/ 1947459 w 1368949"/>
              <a:gd name="T9" fmla="*/ 48234 h 1129097"/>
              <a:gd name="T10" fmla="*/ 1995669 w 1368949"/>
              <a:gd name="T11" fmla="*/ 164679 h 1129097"/>
              <a:gd name="T12" fmla="*/ 1995670 w 1368949"/>
              <a:gd name="T13" fmla="*/ 1482086 h 1129097"/>
              <a:gd name="T14" fmla="*/ 1947459 w 1368949"/>
              <a:gd name="T15" fmla="*/ 1598529 h 1129097"/>
              <a:gd name="T16" fmla="*/ 1831069 w 1368949"/>
              <a:gd name="T17" fmla="*/ 1646762 h 1129097"/>
              <a:gd name="T18" fmla="*/ 164601 w 1368949"/>
              <a:gd name="T19" fmla="*/ 1646762 h 1129097"/>
              <a:gd name="T20" fmla="*/ 48212 w 1368949"/>
              <a:gd name="T21" fmla="*/ 1598529 h 1129097"/>
              <a:gd name="T22" fmla="*/ 0 w 1368949"/>
              <a:gd name="T23" fmla="*/ 1482086 h 1129097"/>
              <a:gd name="T24" fmla="*/ 0 w 1368949"/>
              <a:gd name="T25" fmla="*/ 164676 h 1129097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368949"/>
              <a:gd name="T40" fmla="*/ 0 h 1129097"/>
              <a:gd name="T41" fmla="*/ 1368949 w 1368949"/>
              <a:gd name="T42" fmla="*/ 1129097 h 1129097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368949" h="1129097">
                <a:moveTo>
                  <a:pt x="0" y="112910"/>
                </a:moveTo>
                <a:cubicBezTo>
                  <a:pt x="0" y="82964"/>
                  <a:pt x="11896" y="54245"/>
                  <a:pt x="33071" y="33071"/>
                </a:cubicBezTo>
                <a:cubicBezTo>
                  <a:pt x="54246" y="11896"/>
                  <a:pt x="82965" y="0"/>
                  <a:pt x="112911" y="1"/>
                </a:cubicBezTo>
                <a:lnTo>
                  <a:pt x="1256039" y="0"/>
                </a:lnTo>
                <a:cubicBezTo>
                  <a:pt x="1285985" y="0"/>
                  <a:pt x="1314704" y="11896"/>
                  <a:pt x="1335878" y="33071"/>
                </a:cubicBezTo>
                <a:cubicBezTo>
                  <a:pt x="1357053" y="54246"/>
                  <a:pt x="1368949" y="82965"/>
                  <a:pt x="1368948" y="112911"/>
                </a:cubicBezTo>
                <a:cubicBezTo>
                  <a:pt x="1368948" y="414003"/>
                  <a:pt x="1368949" y="715095"/>
                  <a:pt x="1368949" y="1016187"/>
                </a:cubicBezTo>
                <a:cubicBezTo>
                  <a:pt x="1368949" y="1046133"/>
                  <a:pt x="1357053" y="1074852"/>
                  <a:pt x="1335878" y="1096026"/>
                </a:cubicBezTo>
                <a:cubicBezTo>
                  <a:pt x="1314703" y="1117201"/>
                  <a:pt x="1285984" y="1129097"/>
                  <a:pt x="1256039" y="1129097"/>
                </a:cubicBezTo>
                <a:lnTo>
                  <a:pt x="112910" y="1129097"/>
                </a:lnTo>
                <a:cubicBezTo>
                  <a:pt x="82964" y="1129097"/>
                  <a:pt x="54245" y="1117201"/>
                  <a:pt x="33071" y="1096026"/>
                </a:cubicBezTo>
                <a:cubicBezTo>
                  <a:pt x="11896" y="1074851"/>
                  <a:pt x="0" y="1046132"/>
                  <a:pt x="0" y="1016187"/>
                </a:cubicBezTo>
                <a:lnTo>
                  <a:pt x="0" y="112910"/>
                </a:lnTo>
                <a:close/>
              </a:path>
            </a:pathLst>
          </a:custGeom>
          <a:noFill/>
          <a:ln w="9525">
            <a:solidFill>
              <a:schemeClr val="accent4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100828" tIns="441050" rIns="100828" bIns="100830"/>
          <a:lstStyle>
            <a:lvl1pPr marL="342900" indent="-342900" defTabSz="1420813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303213" indent="-303213" defTabSz="1420813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 defTabSz="1420813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 defTabSz="1420813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 defTabSz="1420813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defTabSz="1420813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defTabSz="1420813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defTabSz="1420813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defTabSz="1420813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lvl="1" eaLnBrk="1" hangingPunct="1">
              <a:lnSpc>
                <a:spcPct val="90000"/>
              </a:lnSpc>
              <a:spcAft>
                <a:spcPct val="15000"/>
              </a:spcAft>
              <a:buFont typeface="Arial" panose="020B0604020202020204" pitchFamily="34" charset="0"/>
              <a:buChar char="•"/>
            </a:pPr>
            <a:endParaRPr lang="en-US" altLang="zh-CN" sz="3375">
              <a:solidFill>
                <a:srgbClr val="000000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lvl="1" eaLnBrk="1" hangingPunct="1">
              <a:lnSpc>
                <a:spcPct val="90000"/>
              </a:lnSpc>
              <a:spcAft>
                <a:spcPct val="15000"/>
              </a:spcAft>
              <a:buFont typeface="Arial" panose="020B0604020202020204" pitchFamily="34" charset="0"/>
              <a:buChar char="•"/>
            </a:pPr>
            <a:endParaRPr lang="en-US" altLang="zh-CN" sz="3375">
              <a:solidFill>
                <a:srgbClr val="000000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49" name="Freeform 77"/>
          <p:cNvSpPr>
            <a:spLocks noChangeArrowheads="1"/>
          </p:cNvSpPr>
          <p:nvPr/>
        </p:nvSpPr>
        <p:spPr bwMode="auto">
          <a:xfrm>
            <a:off x="7409781" y="1288378"/>
            <a:ext cx="1572571" cy="624386"/>
          </a:xfrm>
          <a:custGeom>
            <a:avLst/>
            <a:gdLst>
              <a:gd name="T0" fmla="*/ 0 w 1216844"/>
              <a:gd name="T1" fmla="*/ 70549 h 483898"/>
              <a:gd name="T2" fmla="*/ 20676 w 1216844"/>
              <a:gd name="T3" fmla="*/ 20663 h 483898"/>
              <a:gd name="T4" fmla="*/ 70594 w 1216844"/>
              <a:gd name="T5" fmla="*/ 0 h 483898"/>
              <a:gd name="T6" fmla="*/ 1704613 w 1216844"/>
              <a:gd name="T7" fmla="*/ 0 h 483898"/>
              <a:gd name="T8" fmla="*/ 1754531 w 1216844"/>
              <a:gd name="T9" fmla="*/ 20663 h 483898"/>
              <a:gd name="T10" fmla="*/ 1775207 w 1216844"/>
              <a:gd name="T11" fmla="*/ 70549 h 483898"/>
              <a:gd name="T12" fmla="*/ 1775207 w 1216844"/>
              <a:gd name="T13" fmla="*/ 634933 h 483898"/>
              <a:gd name="T14" fmla="*/ 1754531 w 1216844"/>
              <a:gd name="T15" fmla="*/ 684819 h 483898"/>
              <a:gd name="T16" fmla="*/ 1704613 w 1216844"/>
              <a:gd name="T17" fmla="*/ 705482 h 483898"/>
              <a:gd name="T18" fmla="*/ 70594 w 1216844"/>
              <a:gd name="T19" fmla="*/ 705482 h 483898"/>
              <a:gd name="T20" fmla="*/ 20676 w 1216844"/>
              <a:gd name="T21" fmla="*/ 684819 h 483898"/>
              <a:gd name="T22" fmla="*/ 0 w 1216844"/>
              <a:gd name="T23" fmla="*/ 634933 h 483898"/>
              <a:gd name="T24" fmla="*/ 0 w 1216844"/>
              <a:gd name="T25" fmla="*/ 70549 h 483898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216844"/>
              <a:gd name="T40" fmla="*/ 0 h 483898"/>
              <a:gd name="T41" fmla="*/ 1216844 w 1216844"/>
              <a:gd name="T42" fmla="*/ 483898 h 483898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216844" h="483898">
                <a:moveTo>
                  <a:pt x="0" y="48390"/>
                </a:moveTo>
                <a:cubicBezTo>
                  <a:pt x="0" y="35556"/>
                  <a:pt x="5098" y="23248"/>
                  <a:pt x="14173" y="14173"/>
                </a:cubicBezTo>
                <a:cubicBezTo>
                  <a:pt x="23248" y="5098"/>
                  <a:pt x="35556" y="0"/>
                  <a:pt x="48390" y="0"/>
                </a:cubicBezTo>
                <a:lnTo>
                  <a:pt x="1168454" y="0"/>
                </a:lnTo>
                <a:cubicBezTo>
                  <a:pt x="1181288" y="0"/>
                  <a:pt x="1193596" y="5098"/>
                  <a:pt x="1202671" y="14173"/>
                </a:cubicBezTo>
                <a:cubicBezTo>
                  <a:pt x="1211746" y="23248"/>
                  <a:pt x="1216844" y="35556"/>
                  <a:pt x="1216844" y="48390"/>
                </a:cubicBezTo>
                <a:lnTo>
                  <a:pt x="1216844" y="435508"/>
                </a:lnTo>
                <a:cubicBezTo>
                  <a:pt x="1216844" y="448342"/>
                  <a:pt x="1211746" y="460650"/>
                  <a:pt x="1202671" y="469725"/>
                </a:cubicBezTo>
                <a:cubicBezTo>
                  <a:pt x="1193596" y="478800"/>
                  <a:pt x="1181288" y="483898"/>
                  <a:pt x="1168454" y="483898"/>
                </a:cubicBezTo>
                <a:lnTo>
                  <a:pt x="48390" y="483898"/>
                </a:lnTo>
                <a:cubicBezTo>
                  <a:pt x="35556" y="483898"/>
                  <a:pt x="23248" y="478800"/>
                  <a:pt x="14173" y="469725"/>
                </a:cubicBezTo>
                <a:cubicBezTo>
                  <a:pt x="5098" y="460650"/>
                  <a:pt x="0" y="448342"/>
                  <a:pt x="0" y="435508"/>
                </a:cubicBezTo>
                <a:lnTo>
                  <a:pt x="0" y="4839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lIns="92256" tIns="68147" rIns="92256" bIns="68147" anchor="ctr"/>
          <a:lstStyle>
            <a:lvl1pPr defTabSz="1598613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 defTabSz="1598613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 defTabSz="1598613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 defTabSz="1598613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 defTabSz="1598613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defTabSz="1598613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defTabSz="1598613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defTabSz="1598613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defTabSz="1598613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lnSpc>
                <a:spcPct val="90000"/>
              </a:lnSpc>
              <a:spcAft>
                <a:spcPct val="35000"/>
              </a:spcAft>
            </a:pPr>
            <a:r>
              <a:rPr lang="en-US" altLang="zh-CN" b="1" dirty="0" smtClean="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80%</a:t>
            </a:r>
            <a:endParaRPr lang="en-US" altLang="zh-CN" b="1" dirty="0">
              <a:solidFill>
                <a:srgbClr val="FFFFFF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50" name="TextBox 23"/>
          <p:cNvSpPr txBox="1"/>
          <p:nvPr/>
        </p:nvSpPr>
        <p:spPr>
          <a:xfrm>
            <a:off x="15609" y="4081636"/>
            <a:ext cx="2540167" cy="17889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 algn="just">
              <a:lnSpc>
                <a:spcPct val="150000"/>
              </a:lnSpc>
              <a:buFont typeface="+mj-lt"/>
              <a:buAutoNum type="arabicPeriod"/>
            </a:pPr>
            <a:r>
              <a:rPr lang="zh-CN" altLang="en-US" sz="10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云</a:t>
            </a:r>
            <a:r>
              <a:rPr lang="zh-CN" altLang="en-US" sz="10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平台</a:t>
            </a:r>
            <a:r>
              <a:rPr lang="en-US" altLang="zh-CN" sz="10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Harbor</a:t>
            </a:r>
            <a:r>
              <a:rPr lang="zh-CN" altLang="en-US" sz="10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镜像下发功能验证。</a:t>
            </a:r>
            <a:endParaRPr lang="en-US" altLang="zh-CN" sz="1050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  <a:p>
            <a:pPr marL="228600" indent="-228600" algn="just">
              <a:lnSpc>
                <a:spcPct val="150000"/>
              </a:lnSpc>
              <a:buFont typeface="+mj-lt"/>
              <a:buAutoNum type="arabicPeriod"/>
            </a:pPr>
            <a:r>
              <a:rPr lang="zh-CN" altLang="en-US" sz="105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云</a:t>
            </a:r>
            <a:r>
              <a:rPr lang="zh-CN" altLang="en-US" sz="10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平台老镜像工作流接入可视化图表。</a:t>
            </a:r>
            <a:endParaRPr lang="en-US" altLang="zh-CN" sz="1050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  <a:p>
            <a:pPr marL="228600" indent="-228600" algn="just">
              <a:lnSpc>
                <a:spcPct val="150000"/>
              </a:lnSpc>
              <a:buFont typeface="+mj-lt"/>
              <a:buAutoNum type="arabicPeriod"/>
            </a:pPr>
            <a:r>
              <a:rPr lang="zh-CN" altLang="en-US" sz="105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云</a:t>
            </a:r>
            <a:r>
              <a:rPr lang="zh-CN" altLang="en-US" sz="10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平台镜像下发支持远程下发。</a:t>
            </a:r>
            <a:endParaRPr lang="en-US" altLang="zh-CN" sz="1050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  <a:p>
            <a:pPr marL="228600" indent="-228600" algn="just">
              <a:lnSpc>
                <a:spcPct val="150000"/>
              </a:lnSpc>
              <a:buFont typeface="+mj-lt"/>
              <a:buAutoNum type="arabicPeriod"/>
            </a:pPr>
            <a:r>
              <a:rPr lang="zh-CN" altLang="en-US" sz="105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云</a:t>
            </a:r>
            <a:r>
              <a:rPr lang="zh-CN" altLang="en-US" sz="10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平台</a:t>
            </a:r>
            <a:r>
              <a:rPr lang="en-US" altLang="zh-CN" sz="10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2</a:t>
            </a:r>
            <a:r>
              <a:rPr lang="zh-CN" altLang="en-US" sz="10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静态页面生成</a:t>
            </a:r>
            <a:endParaRPr lang="en-US" altLang="zh-CN" sz="1050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  <a:p>
            <a:pPr marL="228600" indent="-228600" algn="just">
              <a:lnSpc>
                <a:spcPct val="150000"/>
              </a:lnSpc>
              <a:buFont typeface="+mj-lt"/>
              <a:buAutoNum type="arabicPeriod"/>
            </a:pPr>
            <a:endParaRPr lang="en-US" altLang="zh-CN" sz="1050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  <a:p>
            <a:pPr marL="228600" indent="-228600" algn="just">
              <a:lnSpc>
                <a:spcPct val="150000"/>
              </a:lnSpc>
              <a:buFont typeface="+mj-lt"/>
              <a:buAutoNum type="arabicPeriod"/>
            </a:pPr>
            <a:endParaRPr lang="en-GB" altLang="zh-CN" sz="105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52" name="TextBox 23"/>
          <p:cNvSpPr txBox="1"/>
          <p:nvPr/>
        </p:nvSpPr>
        <p:spPr>
          <a:xfrm>
            <a:off x="2533582" y="4054269"/>
            <a:ext cx="2182434" cy="548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 algn="just">
              <a:lnSpc>
                <a:spcPct val="150000"/>
              </a:lnSpc>
              <a:buFont typeface="+mj-lt"/>
              <a:buAutoNum type="arabicPeriod"/>
            </a:pPr>
            <a:r>
              <a:rPr lang="en-US" altLang="zh-CN" sz="10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Soul</a:t>
            </a:r>
            <a:r>
              <a:rPr lang="zh-CN" altLang="en-US" sz="10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网关功能测试以及源码研究改造</a:t>
            </a:r>
            <a:endParaRPr lang="en-US" altLang="zh-CN" sz="1050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54" name="TextBox 23"/>
          <p:cNvSpPr txBox="1"/>
          <p:nvPr/>
        </p:nvSpPr>
        <p:spPr>
          <a:xfrm>
            <a:off x="4765830" y="4009628"/>
            <a:ext cx="2182434" cy="8194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 algn="just">
              <a:lnSpc>
                <a:spcPct val="150000"/>
              </a:lnSpc>
              <a:buFont typeface="+mj-lt"/>
              <a:buAutoNum type="arabicPeriod"/>
            </a:pPr>
            <a:r>
              <a:rPr lang="en-US" altLang="zh-CN" sz="10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OA</a:t>
            </a:r>
            <a:r>
              <a:rPr lang="zh-CN" altLang="en-US" sz="10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升级协助</a:t>
            </a:r>
            <a:endParaRPr lang="en-US" altLang="zh-CN" sz="1050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228600" indent="-228600" algn="just">
              <a:lnSpc>
                <a:spcPct val="150000"/>
              </a:lnSpc>
              <a:buFont typeface="+mj-lt"/>
              <a:buAutoNum type="arabicPeriod"/>
            </a:pPr>
            <a:r>
              <a:rPr lang="zh-CN" altLang="en-US" sz="105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打通成都</a:t>
            </a:r>
            <a:r>
              <a:rPr lang="en-US" altLang="zh-CN" sz="105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CI</a:t>
            </a:r>
            <a:r>
              <a:rPr lang="zh-CN" altLang="en-US" sz="105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到</a:t>
            </a:r>
            <a:r>
              <a:rPr lang="en-US" altLang="zh-CN" sz="105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docker</a:t>
            </a:r>
            <a:r>
              <a:rPr lang="zh-CN" altLang="en-US" sz="105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云</a:t>
            </a:r>
            <a:r>
              <a:rPr lang="zh-CN" altLang="en-US" sz="10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平台镜像自动化构建下发</a:t>
            </a:r>
            <a:endParaRPr lang="en-US" altLang="zh-CN" sz="1050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56" name="TextBox 23"/>
          <p:cNvSpPr txBox="1"/>
          <p:nvPr/>
        </p:nvSpPr>
        <p:spPr>
          <a:xfrm>
            <a:off x="7092280" y="4009628"/>
            <a:ext cx="2182434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 algn="just">
              <a:lnSpc>
                <a:spcPct val="150000"/>
              </a:lnSpc>
              <a:buFont typeface="+mj-lt"/>
              <a:buAutoNum type="arabicPeriod"/>
            </a:pPr>
            <a:r>
              <a:rPr lang="en-US" altLang="zh-CN" sz="10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CJ</a:t>
            </a:r>
            <a:r>
              <a:rPr lang="zh-CN" altLang="en-US" sz="10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展商平台改造</a:t>
            </a:r>
            <a:endParaRPr lang="en-US" altLang="zh-CN" sz="1050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228600" indent="-228600" algn="just">
              <a:lnSpc>
                <a:spcPct val="150000"/>
              </a:lnSpc>
              <a:buFont typeface="+mj-lt"/>
              <a:buAutoNum type="arabicPeriod"/>
            </a:pPr>
            <a:r>
              <a:rPr lang="en-US" altLang="zh-CN" sz="10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CJ</a:t>
            </a:r>
            <a:r>
              <a:rPr lang="zh-CN" altLang="en-US" sz="10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系列项目接入</a:t>
            </a:r>
            <a:r>
              <a:rPr lang="en-US" altLang="zh-CN" sz="105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jenkins</a:t>
            </a:r>
            <a:endParaRPr lang="en-GB" altLang="zh-CN" sz="105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58" name="TextBox 24"/>
          <p:cNvSpPr txBox="1"/>
          <p:nvPr/>
        </p:nvSpPr>
        <p:spPr>
          <a:xfrm>
            <a:off x="297983" y="2149963"/>
            <a:ext cx="160972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zh-CN" alt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微软雅黑" panose="020B0503020204020204" pitchFamily="34" charset="-122"/>
              </a:rPr>
              <a:t>云平台功能优化</a:t>
            </a:r>
            <a:endParaRPr lang="zh-CN" altLang="en-US" sz="1600" b="1" dirty="0">
              <a:solidFill>
                <a:schemeClr val="tx1">
                  <a:lumMod val="75000"/>
                  <a:lumOff val="25000"/>
                </a:schemeClr>
              </a:solidFill>
              <a:ea typeface="微软雅黑" panose="020B0503020204020204" pitchFamily="34" charset="-122"/>
            </a:endParaRPr>
          </a:p>
        </p:txBody>
      </p:sp>
      <p:sp>
        <p:nvSpPr>
          <p:cNvPr id="59" name="TextBox 24"/>
          <p:cNvSpPr txBox="1"/>
          <p:nvPr/>
        </p:nvSpPr>
        <p:spPr>
          <a:xfrm>
            <a:off x="2555658" y="2149963"/>
            <a:ext cx="16429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zh-CN" alt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微软雅黑" panose="020B0503020204020204" pitchFamily="34" charset="-122"/>
              </a:rPr>
              <a:t>云平台功能新增</a:t>
            </a:r>
            <a:endParaRPr lang="zh-CN" altLang="en-US" sz="1600" b="1" dirty="0">
              <a:solidFill>
                <a:schemeClr val="tx1">
                  <a:lumMod val="75000"/>
                  <a:lumOff val="25000"/>
                </a:schemeClr>
              </a:solidFill>
              <a:ea typeface="微软雅黑" panose="020B0503020204020204" pitchFamily="34" charset="-122"/>
            </a:endParaRPr>
          </a:p>
        </p:txBody>
      </p:sp>
      <p:sp>
        <p:nvSpPr>
          <p:cNvPr id="60" name="TextBox 24"/>
          <p:cNvSpPr txBox="1"/>
          <p:nvPr/>
        </p:nvSpPr>
        <p:spPr>
          <a:xfrm>
            <a:off x="4946565" y="2141225"/>
            <a:ext cx="1361286" cy="343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zh-CN" alt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微软雅黑" panose="020B0503020204020204" pitchFamily="34" charset="-122"/>
              </a:rPr>
              <a:t>云平台推广</a:t>
            </a:r>
            <a:endParaRPr lang="zh-CN" altLang="en-US" sz="1600" b="1" dirty="0">
              <a:solidFill>
                <a:schemeClr val="tx1">
                  <a:lumMod val="75000"/>
                  <a:lumOff val="25000"/>
                </a:schemeClr>
              </a:solidFill>
              <a:ea typeface="微软雅黑" panose="020B0503020204020204" pitchFamily="34" charset="-122"/>
            </a:endParaRPr>
          </a:p>
        </p:txBody>
      </p:sp>
      <p:sp>
        <p:nvSpPr>
          <p:cNvPr id="61" name="TextBox 24"/>
          <p:cNvSpPr txBox="1"/>
          <p:nvPr/>
        </p:nvSpPr>
        <p:spPr>
          <a:xfrm>
            <a:off x="7399392" y="2149963"/>
            <a:ext cx="1019826" cy="343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zh-CN" alt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微软雅黑" panose="020B0503020204020204" pitchFamily="34" charset="-122"/>
              </a:rPr>
              <a:t>其他</a:t>
            </a:r>
            <a:endParaRPr lang="zh-CN" altLang="en-US" sz="1600" b="1" dirty="0">
              <a:solidFill>
                <a:schemeClr val="tx1">
                  <a:lumMod val="75000"/>
                  <a:lumOff val="25000"/>
                </a:schemeClr>
              </a:solidFill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206640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500"/>
                            </p:stCondLst>
                            <p:childTnLst>
                              <p:par>
                                <p:cTn id="2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000"/>
                            </p:stCondLst>
                            <p:childTnLst>
                              <p:par>
                                <p:cTn id="3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500"/>
                            </p:stCondLst>
                            <p:childTnLst>
                              <p:par>
                                <p:cTn id="3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000"/>
                            </p:stCondLst>
                            <p:childTnLst>
                              <p:par>
                                <p:cTn id="4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500"/>
                            </p:stCondLst>
                            <p:childTnLst>
                              <p:par>
                                <p:cTn id="4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000"/>
                            </p:stCondLst>
                            <p:childTnLst>
                              <p:par>
                                <p:cTn id="5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5500"/>
                            </p:stCondLst>
                            <p:childTnLst>
                              <p:par>
                                <p:cTn id="5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6000"/>
                            </p:stCondLst>
                            <p:childTnLst>
                              <p:par>
                                <p:cTn id="6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6500"/>
                            </p:stCondLst>
                            <p:childTnLst>
                              <p:par>
                                <p:cTn id="6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7000"/>
                            </p:stCondLst>
                            <p:childTnLst>
                              <p:par>
                                <p:cTn id="6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1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7500"/>
                            </p:stCondLst>
                            <p:childTnLst>
                              <p:par>
                                <p:cTn id="73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500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76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8000"/>
                            </p:stCondLst>
                            <p:childTnLst>
                              <p:par>
                                <p:cTn id="78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0" dur="500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1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8500"/>
                            </p:stCondLst>
                            <p:childTnLst>
                              <p:par>
                                <p:cTn id="83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5" dur="500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6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9000"/>
                            </p:stCondLst>
                            <p:childTnLst>
                              <p:par>
                                <p:cTn id="88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0" dur="500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91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animBg="1"/>
      <p:bldP spid="40" grpId="0" animBg="1"/>
      <p:bldP spid="41" grpId="0" animBg="1"/>
      <p:bldP spid="42" grpId="0" animBg="1"/>
      <p:bldP spid="43" grpId="0" animBg="1"/>
      <p:bldP spid="44" grpId="0" animBg="1"/>
      <p:bldP spid="45" grpId="0" animBg="1"/>
      <p:bldP spid="46" grpId="0" animBg="1"/>
      <p:bldP spid="47" grpId="0" animBg="1"/>
      <p:bldP spid="48" grpId="0" animBg="1"/>
      <p:bldP spid="49" grpId="0" animBg="1"/>
      <p:bldP spid="50" grpId="0"/>
      <p:bldP spid="52" grpId="0"/>
      <p:bldP spid="54" grpId="0"/>
      <p:bldP spid="56" grpId="0"/>
      <p:bldP spid="58" grpId="0"/>
      <p:bldP spid="59" grpId="0"/>
      <p:bldP spid="60" grpId="0"/>
      <p:bldP spid="61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3C2100-B283-423C-80F9-9CBC96B9E551}" type="slidenum">
              <a:rPr lang="zh-CN" altLang="en-US" smtClean="0"/>
              <a:pPr/>
              <a:t>4</a:t>
            </a:fld>
            <a:endParaRPr lang="zh-CN" altLang="en-US" dirty="0"/>
          </a:p>
        </p:txBody>
      </p:sp>
      <p:cxnSp>
        <p:nvCxnSpPr>
          <p:cNvPr id="7" name="直接连接符 6"/>
          <p:cNvCxnSpPr/>
          <p:nvPr>
            <p:custDataLst>
              <p:tags r:id="rId1"/>
            </p:custDataLst>
          </p:nvPr>
        </p:nvCxnSpPr>
        <p:spPr>
          <a:xfrm>
            <a:off x="0" y="4153644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接连接符 14"/>
          <p:cNvCxnSpPr/>
          <p:nvPr>
            <p:custDataLst>
              <p:tags r:id="rId2"/>
            </p:custDataLst>
          </p:nvPr>
        </p:nvCxnSpPr>
        <p:spPr>
          <a:xfrm>
            <a:off x="0" y="2713484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文本框 9"/>
          <p:cNvSpPr txBox="1"/>
          <p:nvPr>
            <p:custDataLst>
              <p:tags r:id="rId3"/>
            </p:custDataLst>
          </p:nvPr>
        </p:nvSpPr>
        <p:spPr>
          <a:xfrm>
            <a:off x="2627784" y="2610365"/>
            <a:ext cx="3427667" cy="490587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altLang="zh-CN" sz="2800" dirty="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PART</a:t>
            </a:r>
          </a:p>
        </p:txBody>
      </p:sp>
      <p:sp>
        <p:nvSpPr>
          <p:cNvPr id="11" name="MH_Entry_1"/>
          <p:cNvSpPr/>
          <p:nvPr>
            <p:custDataLst>
              <p:tags r:id="rId4"/>
            </p:custDataLst>
          </p:nvPr>
        </p:nvSpPr>
        <p:spPr>
          <a:xfrm>
            <a:off x="2278977" y="3353425"/>
            <a:ext cx="4125284" cy="800219"/>
          </a:xfrm>
          <a:custGeom>
            <a:avLst/>
            <a:gdLst>
              <a:gd name="connsiteX0" fmla="*/ 0 w 2520280"/>
              <a:gd name="connsiteY0" fmla="*/ 1584176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1584176 h 1872208"/>
              <a:gd name="connsiteX5" fmla="*/ 0 w 2520280"/>
              <a:gd name="connsiteY5" fmla="*/ 0 h 1872208"/>
              <a:gd name="connsiteX6" fmla="*/ 2520280 w 2520280"/>
              <a:gd name="connsiteY6" fmla="*/ 0 h 1872208"/>
              <a:gd name="connsiteX7" fmla="*/ 2520280 w 2520280"/>
              <a:gd name="connsiteY7" fmla="*/ 288032 h 1872208"/>
              <a:gd name="connsiteX8" fmla="*/ 0 w 2520280"/>
              <a:gd name="connsiteY8" fmla="*/ 0 h 1872208"/>
              <a:gd name="connsiteX0" fmla="*/ 0 w 2520280"/>
              <a:gd name="connsiteY0" fmla="*/ 1584176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1584176 h 1872208"/>
              <a:gd name="connsiteX5" fmla="*/ 0 w 2520280"/>
              <a:gd name="connsiteY5" fmla="*/ 0 h 1872208"/>
              <a:gd name="connsiteX6" fmla="*/ 2520280 w 2520280"/>
              <a:gd name="connsiteY6" fmla="*/ 0 h 1872208"/>
              <a:gd name="connsiteX7" fmla="*/ 0 w 2520280"/>
              <a:gd name="connsiteY7" fmla="*/ 0 h 1872208"/>
              <a:gd name="connsiteX0" fmla="*/ 0 w 2520280"/>
              <a:gd name="connsiteY0" fmla="*/ 1872208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0 h 1872208"/>
              <a:gd name="connsiteX5" fmla="*/ 2520280 w 2520280"/>
              <a:gd name="connsiteY5" fmla="*/ 0 h 1872208"/>
              <a:gd name="connsiteX6" fmla="*/ 0 w 2520280"/>
              <a:gd name="connsiteY6" fmla="*/ 0 h 1872208"/>
              <a:gd name="connsiteX0" fmla="*/ 0 w 2520280"/>
              <a:gd name="connsiteY0" fmla="*/ 1872208 h 1872208"/>
              <a:gd name="connsiteX1" fmla="*/ 2520280 w 2520280"/>
              <a:gd name="connsiteY1" fmla="*/ 1872208 h 1872208"/>
              <a:gd name="connsiteX2" fmla="*/ 0 w 2520280"/>
              <a:gd name="connsiteY2" fmla="*/ 1872208 h 1872208"/>
              <a:gd name="connsiteX3" fmla="*/ 0 w 2520280"/>
              <a:gd name="connsiteY3" fmla="*/ 0 h 1872208"/>
              <a:gd name="connsiteX4" fmla="*/ 2520280 w 2520280"/>
              <a:gd name="connsiteY4" fmla="*/ 0 h 1872208"/>
              <a:gd name="connsiteX5" fmla="*/ 0 w 2520280"/>
              <a:gd name="connsiteY5" fmla="*/ 0 h 1872208"/>
              <a:gd name="connsiteX0" fmla="*/ 0 w 2520280"/>
              <a:gd name="connsiteY0" fmla="*/ 1872208 h 1872208"/>
              <a:gd name="connsiteX1" fmla="*/ 2520280 w 2520280"/>
              <a:gd name="connsiteY1" fmla="*/ 1872208 h 1872208"/>
              <a:gd name="connsiteX2" fmla="*/ 0 w 2520280"/>
              <a:gd name="connsiteY2" fmla="*/ 1872208 h 1872208"/>
              <a:gd name="connsiteX3" fmla="*/ 0 w 2520280"/>
              <a:gd name="connsiteY3" fmla="*/ 0 h 1872208"/>
              <a:gd name="connsiteX4" fmla="*/ 34255 w 2520280"/>
              <a:gd name="connsiteY4" fmla="*/ 0 h 1872208"/>
              <a:gd name="connsiteX5" fmla="*/ 0 w 2520280"/>
              <a:gd name="connsiteY5" fmla="*/ 0 h 1872208"/>
              <a:gd name="connsiteX0" fmla="*/ 0 w 2520280"/>
              <a:gd name="connsiteY0" fmla="*/ 1872208 h 1872208"/>
              <a:gd name="connsiteX1" fmla="*/ 2520280 w 2520280"/>
              <a:gd name="connsiteY1" fmla="*/ 1872208 h 1872208"/>
              <a:gd name="connsiteX2" fmla="*/ 0 w 2520280"/>
              <a:gd name="connsiteY2" fmla="*/ 1872208 h 1872208"/>
              <a:gd name="connsiteX3" fmla="*/ 0 w 2520280"/>
              <a:gd name="connsiteY3" fmla="*/ 0 h 1872208"/>
              <a:gd name="connsiteX4" fmla="*/ 917 w 2520280"/>
              <a:gd name="connsiteY4" fmla="*/ 6036 h 1872208"/>
              <a:gd name="connsiteX5" fmla="*/ 0 w 2520280"/>
              <a:gd name="connsiteY5" fmla="*/ 0 h 1872208"/>
              <a:gd name="connsiteX0" fmla="*/ 0 w 2520280"/>
              <a:gd name="connsiteY0" fmla="*/ 1890314 h 1890314"/>
              <a:gd name="connsiteX1" fmla="*/ 2520280 w 2520280"/>
              <a:gd name="connsiteY1" fmla="*/ 1890314 h 1890314"/>
              <a:gd name="connsiteX2" fmla="*/ 0 w 2520280"/>
              <a:gd name="connsiteY2" fmla="*/ 1890314 h 1890314"/>
              <a:gd name="connsiteX3" fmla="*/ 0 w 2520280"/>
              <a:gd name="connsiteY3" fmla="*/ 18106 h 1890314"/>
              <a:gd name="connsiteX4" fmla="*/ 53304 w 2520280"/>
              <a:gd name="connsiteY4" fmla="*/ 0 h 1890314"/>
              <a:gd name="connsiteX5" fmla="*/ 0 w 2520280"/>
              <a:gd name="connsiteY5" fmla="*/ 18106 h 1890314"/>
              <a:gd name="connsiteX0" fmla="*/ 0 w 2520280"/>
              <a:gd name="connsiteY0" fmla="*/ 1872208 h 1872208"/>
              <a:gd name="connsiteX1" fmla="*/ 2520280 w 2520280"/>
              <a:gd name="connsiteY1" fmla="*/ 1872208 h 1872208"/>
              <a:gd name="connsiteX2" fmla="*/ 0 w 2520280"/>
              <a:gd name="connsiteY2" fmla="*/ 1872208 h 1872208"/>
              <a:gd name="connsiteX3" fmla="*/ 0 w 2520280"/>
              <a:gd name="connsiteY3" fmla="*/ 0 h 1872208"/>
              <a:gd name="connsiteX4" fmla="*/ 916 w 2520280"/>
              <a:gd name="connsiteY4" fmla="*/ 0 h 1872208"/>
              <a:gd name="connsiteX5" fmla="*/ 0 w 2520280"/>
              <a:gd name="connsiteY5" fmla="*/ 0 h 1872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20280" h="1872208">
                <a:moveTo>
                  <a:pt x="0" y="1872208"/>
                </a:moveTo>
                <a:lnTo>
                  <a:pt x="2520280" y="1872208"/>
                </a:lnTo>
                <a:lnTo>
                  <a:pt x="0" y="1872208"/>
                </a:lnTo>
                <a:close/>
                <a:moveTo>
                  <a:pt x="0" y="0"/>
                </a:moveTo>
                <a:lnTo>
                  <a:pt x="916" y="0"/>
                </a:lnTo>
                <a:lnTo>
                  <a:pt x="0" y="0"/>
                </a:lnTo>
                <a:close/>
              </a:path>
            </a:pathLst>
          </a:custGeom>
          <a:noFill/>
          <a:ln w="3175" cap="sq">
            <a:noFill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zh-CN" altLang="en-US" sz="36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工作完成情况</a:t>
            </a:r>
            <a:endParaRPr lang="en-US" altLang="zh-CN" sz="36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algn="ctr"/>
            <a:r>
              <a:rPr lang="en-US" altLang="zh-CN" sz="1600" dirty="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COMPLETION </a:t>
            </a:r>
            <a:r>
              <a:rPr lang="en-US" altLang="zh-CN" sz="16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OF WORK</a:t>
            </a:r>
            <a:endParaRPr lang="zh-CN" altLang="en-US" sz="16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4274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ym typeface="Arial" panose="020B0604020202020204" pitchFamily="34" charset="0"/>
              </a:rPr>
              <a:t>工作完成</a:t>
            </a:r>
            <a:r>
              <a:rPr lang="zh-CN" altLang="en-US" dirty="0" smtClean="0">
                <a:sym typeface="Arial" panose="020B0604020202020204" pitchFamily="34" charset="0"/>
              </a:rPr>
              <a:t>内容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3C2100-B283-423C-80F9-9CBC96B9E551}" type="slidenum">
              <a:rPr lang="zh-CN" altLang="en-US" smtClean="0"/>
              <a:pPr/>
              <a:t>5</a:t>
            </a:fld>
            <a:endParaRPr lang="zh-CN" altLang="en-US" dirty="0"/>
          </a:p>
        </p:txBody>
      </p:sp>
      <p:sp>
        <p:nvSpPr>
          <p:cNvPr id="6" name="椭圆 5"/>
          <p:cNvSpPr/>
          <p:nvPr/>
        </p:nvSpPr>
        <p:spPr>
          <a:xfrm>
            <a:off x="2700334" y="1273324"/>
            <a:ext cx="3719972" cy="3484820"/>
          </a:xfrm>
          <a:prstGeom prst="ellipse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grpSp>
        <p:nvGrpSpPr>
          <p:cNvPr id="7" name="组合 6"/>
          <p:cNvGrpSpPr/>
          <p:nvPr/>
        </p:nvGrpSpPr>
        <p:grpSpPr>
          <a:xfrm>
            <a:off x="2775882" y="1338340"/>
            <a:ext cx="3550990" cy="3326516"/>
            <a:chOff x="3047429" y="1323744"/>
            <a:chExt cx="2783847" cy="2783844"/>
          </a:xfrm>
          <a:effectLst/>
        </p:grpSpPr>
        <p:sp>
          <p:nvSpPr>
            <p:cNvPr id="8" name="椭圆 11"/>
            <p:cNvSpPr/>
            <p:nvPr/>
          </p:nvSpPr>
          <p:spPr>
            <a:xfrm rot="2700000">
              <a:off x="3862480" y="1323962"/>
              <a:ext cx="1153402" cy="1152965"/>
            </a:xfrm>
            <a:custGeom>
              <a:avLst/>
              <a:gdLst/>
              <a:ahLst/>
              <a:cxnLst/>
              <a:rect l="l" t="t" r="r" b="b"/>
              <a:pathLst>
                <a:path w="1153402" h="1152965">
                  <a:moveTo>
                    <a:pt x="746531" y="0"/>
                  </a:moveTo>
                  <a:cubicBezTo>
                    <a:pt x="779296" y="194851"/>
                    <a:pt x="949063" y="342875"/>
                    <a:pt x="1153402" y="342875"/>
                  </a:cubicBezTo>
                  <a:lnTo>
                    <a:pt x="1153402" y="1152965"/>
                  </a:lnTo>
                  <a:lnTo>
                    <a:pt x="343312" y="1152965"/>
                  </a:lnTo>
                  <a:cubicBezTo>
                    <a:pt x="343312" y="948474"/>
                    <a:pt x="195069" y="778607"/>
                    <a:pt x="0" y="746050"/>
                  </a:cubicBezTo>
                  <a:cubicBezTo>
                    <a:pt x="121924" y="397390"/>
                    <a:pt x="397695" y="121245"/>
                    <a:pt x="746531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>
                <a:spcAft>
                  <a:spcPts val="844"/>
                </a:spcAft>
              </a:pPr>
              <a:endParaRPr lang="zh-CN" altLang="en-US" sz="1969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9" name="椭圆 11"/>
            <p:cNvSpPr/>
            <p:nvPr/>
          </p:nvSpPr>
          <p:spPr>
            <a:xfrm rot="2700000" flipH="1">
              <a:off x="4678356" y="2138826"/>
              <a:ext cx="1152437" cy="1153402"/>
            </a:xfrm>
            <a:custGeom>
              <a:avLst/>
              <a:gdLst/>
              <a:ahLst/>
              <a:cxnLst/>
              <a:rect l="l" t="t" r="r" b="b"/>
              <a:pathLst>
                <a:path w="1152437" h="1153402">
                  <a:moveTo>
                    <a:pt x="745522" y="0"/>
                  </a:moveTo>
                  <a:cubicBezTo>
                    <a:pt x="397295" y="121773"/>
                    <a:pt x="121402" y="397011"/>
                    <a:pt x="0" y="745261"/>
                  </a:cubicBezTo>
                  <a:cubicBezTo>
                    <a:pt x="201063" y="772062"/>
                    <a:pt x="355477" y="944700"/>
                    <a:pt x="355477" y="1153402"/>
                  </a:cubicBezTo>
                  <a:lnTo>
                    <a:pt x="1152437" y="1153402"/>
                  </a:lnTo>
                  <a:lnTo>
                    <a:pt x="1152437" y="343312"/>
                  </a:lnTo>
                  <a:cubicBezTo>
                    <a:pt x="947947" y="343312"/>
                    <a:pt x="778080" y="195069"/>
                    <a:pt x="74552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>
                <a:spcAft>
                  <a:spcPts val="844"/>
                </a:spcAft>
              </a:pPr>
              <a:endParaRPr lang="zh-CN" altLang="en-US" sz="1969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11" name="椭圆 11"/>
            <p:cNvSpPr/>
            <p:nvPr/>
          </p:nvSpPr>
          <p:spPr>
            <a:xfrm rot="2700000" flipV="1">
              <a:off x="3047211" y="2139230"/>
              <a:ext cx="1153402" cy="1152966"/>
            </a:xfrm>
            <a:custGeom>
              <a:avLst/>
              <a:gdLst/>
              <a:ahLst/>
              <a:cxnLst/>
              <a:rect l="l" t="t" r="r" b="b"/>
              <a:pathLst>
                <a:path w="1153402" h="1152966">
                  <a:moveTo>
                    <a:pt x="343312" y="1152966"/>
                  </a:moveTo>
                  <a:lnTo>
                    <a:pt x="1153402" y="1152966"/>
                  </a:lnTo>
                  <a:lnTo>
                    <a:pt x="1153402" y="342876"/>
                  </a:lnTo>
                  <a:cubicBezTo>
                    <a:pt x="949063" y="342876"/>
                    <a:pt x="779296" y="194851"/>
                    <a:pt x="746532" y="0"/>
                  </a:cubicBezTo>
                  <a:cubicBezTo>
                    <a:pt x="397696" y="121245"/>
                    <a:pt x="121924" y="397391"/>
                    <a:pt x="0" y="746051"/>
                  </a:cubicBezTo>
                  <a:cubicBezTo>
                    <a:pt x="195069" y="778608"/>
                    <a:pt x="343312" y="948475"/>
                    <a:pt x="343312" y="1152966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>
                <a:spcAft>
                  <a:spcPts val="844"/>
                </a:spcAft>
              </a:pPr>
              <a:endParaRPr lang="zh-CN" altLang="en-US" sz="1969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12" name="椭圆 11"/>
            <p:cNvSpPr/>
            <p:nvPr/>
          </p:nvSpPr>
          <p:spPr>
            <a:xfrm rot="2700000" flipH="1" flipV="1">
              <a:off x="3862864" y="2954647"/>
              <a:ext cx="1152934" cy="1152947"/>
            </a:xfrm>
            <a:custGeom>
              <a:avLst/>
              <a:gdLst/>
              <a:ahLst/>
              <a:cxnLst/>
              <a:rect l="l" t="t" r="r" b="b"/>
              <a:pathLst>
                <a:path w="1152934" h="1152947">
                  <a:moveTo>
                    <a:pt x="1152934" y="1152947"/>
                  </a:moveTo>
                  <a:lnTo>
                    <a:pt x="355974" y="1152947"/>
                  </a:lnTo>
                  <a:lnTo>
                    <a:pt x="355974" y="1152946"/>
                  </a:lnTo>
                  <a:cubicBezTo>
                    <a:pt x="355974" y="944071"/>
                    <a:pt x="201306" y="771320"/>
                    <a:pt x="0" y="744754"/>
                  </a:cubicBezTo>
                  <a:cubicBezTo>
                    <a:pt x="122138" y="396697"/>
                    <a:pt x="397654" y="121079"/>
                    <a:pt x="746064" y="0"/>
                  </a:cubicBezTo>
                  <a:cubicBezTo>
                    <a:pt x="778837" y="194842"/>
                    <a:pt x="948600" y="342857"/>
                    <a:pt x="1152933" y="342857"/>
                  </a:cubicBezTo>
                  <a:cubicBezTo>
                    <a:pt x="1152934" y="342857"/>
                    <a:pt x="1152934" y="342857"/>
                    <a:pt x="1152934" y="342857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>
                <a:spcAft>
                  <a:spcPts val="844"/>
                </a:spcAft>
              </a:pPr>
              <a:endParaRPr lang="zh-CN" altLang="en-US" sz="1969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</p:grpSp>
      <p:sp>
        <p:nvSpPr>
          <p:cNvPr id="13" name="标题层"/>
          <p:cNvSpPr txBox="1"/>
          <p:nvPr/>
        </p:nvSpPr>
        <p:spPr bwMode="auto">
          <a:xfrm>
            <a:off x="3136528" y="1696661"/>
            <a:ext cx="787942" cy="584775"/>
          </a:xfrm>
          <a:prstGeom prst="rect">
            <a:avLst/>
          </a:prstGeom>
          <a:noFill/>
          <a:effectLst>
            <a:outerShdw blurRad="12700" dist="12700" dir="438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altLang="zh-CN" sz="32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01</a:t>
            </a:r>
            <a:endParaRPr lang="zh-CN" altLang="en-US" sz="3200" kern="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微软雅黑" pitchFamily="34" charset="-122"/>
              <a:cs typeface="Arial" panose="020B0604020202020204" pitchFamily="34" charset="0"/>
            </a:endParaRPr>
          </a:p>
        </p:txBody>
      </p:sp>
      <p:sp>
        <p:nvSpPr>
          <p:cNvPr id="14" name="标题层"/>
          <p:cNvSpPr txBox="1"/>
          <p:nvPr/>
        </p:nvSpPr>
        <p:spPr bwMode="auto">
          <a:xfrm>
            <a:off x="5162295" y="1696661"/>
            <a:ext cx="787942" cy="584775"/>
          </a:xfrm>
          <a:prstGeom prst="rect">
            <a:avLst/>
          </a:prstGeom>
          <a:noFill/>
          <a:effectLst>
            <a:outerShdw blurRad="12700" dist="12700" dir="438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altLang="zh-CN" sz="32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02</a:t>
            </a:r>
            <a:endParaRPr lang="zh-CN" altLang="en-US" sz="3200" kern="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微软雅黑" pitchFamily="34" charset="-122"/>
              <a:cs typeface="Arial" panose="020B0604020202020204" pitchFamily="34" charset="0"/>
            </a:endParaRPr>
          </a:p>
        </p:txBody>
      </p:sp>
      <p:sp>
        <p:nvSpPr>
          <p:cNvPr id="15" name="标题层"/>
          <p:cNvSpPr txBox="1"/>
          <p:nvPr/>
        </p:nvSpPr>
        <p:spPr bwMode="auto">
          <a:xfrm>
            <a:off x="5162295" y="3623409"/>
            <a:ext cx="787942" cy="584775"/>
          </a:xfrm>
          <a:prstGeom prst="rect">
            <a:avLst/>
          </a:prstGeom>
          <a:noFill/>
          <a:effectLst>
            <a:outerShdw blurRad="12700" dist="12700" dir="438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altLang="zh-CN" sz="32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03</a:t>
            </a:r>
            <a:endParaRPr lang="zh-CN" altLang="en-US" sz="3200" kern="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微软雅黑" pitchFamily="34" charset="-122"/>
              <a:cs typeface="Arial" panose="020B0604020202020204" pitchFamily="34" charset="0"/>
            </a:endParaRPr>
          </a:p>
        </p:txBody>
      </p:sp>
      <p:sp>
        <p:nvSpPr>
          <p:cNvPr id="16" name="标题层"/>
          <p:cNvSpPr txBox="1"/>
          <p:nvPr/>
        </p:nvSpPr>
        <p:spPr bwMode="auto">
          <a:xfrm>
            <a:off x="3064520" y="3623409"/>
            <a:ext cx="787942" cy="584775"/>
          </a:xfrm>
          <a:prstGeom prst="rect">
            <a:avLst/>
          </a:prstGeom>
          <a:noFill/>
          <a:effectLst>
            <a:outerShdw blurRad="12700" dist="12700" dir="438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altLang="zh-CN" sz="32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04</a:t>
            </a:r>
            <a:endParaRPr lang="zh-CN" altLang="en-US" sz="3200" kern="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微软雅黑" pitchFamily="34" charset="-122"/>
              <a:cs typeface="Arial" panose="020B0604020202020204" pitchFamily="34" charset="0"/>
            </a:endParaRPr>
          </a:p>
        </p:txBody>
      </p:sp>
      <p:cxnSp>
        <p:nvCxnSpPr>
          <p:cNvPr id="17" name="直接连接符 16"/>
          <p:cNvCxnSpPr/>
          <p:nvPr/>
        </p:nvCxnSpPr>
        <p:spPr>
          <a:xfrm>
            <a:off x="2340294" y="1993404"/>
            <a:ext cx="792630" cy="0"/>
          </a:xfrm>
          <a:prstGeom prst="line">
            <a:avLst/>
          </a:prstGeom>
          <a:noFill/>
          <a:ln w="9525" cap="flat" cmpd="sng" algn="ctr">
            <a:solidFill>
              <a:schemeClr val="bg2">
                <a:lumMod val="75000"/>
              </a:schemeClr>
            </a:solidFill>
            <a:prstDash val="sysDash"/>
            <a:headEnd type="oval"/>
            <a:tailEnd type="oval"/>
          </a:ln>
          <a:effectLst/>
        </p:spPr>
      </p:cxnSp>
      <p:sp>
        <p:nvSpPr>
          <p:cNvPr id="18" name="矩形 17"/>
          <p:cNvSpPr/>
          <p:nvPr/>
        </p:nvSpPr>
        <p:spPr>
          <a:xfrm>
            <a:off x="107504" y="651130"/>
            <a:ext cx="2192866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 algn="just">
              <a:lnSpc>
                <a:spcPct val="150000"/>
              </a:lnSpc>
              <a:buFont typeface="+mj-lt"/>
              <a:buAutoNum type="arabicPeriod"/>
            </a:pPr>
            <a:r>
              <a:rPr lang="zh-CN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完成云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平台</a:t>
            </a: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Harbor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镜像下发功能</a:t>
            </a:r>
            <a:r>
              <a:rPr lang="zh-CN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验证（下发速度慢）。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  <a:p>
            <a:pPr marL="228600" indent="-228600" algn="just">
              <a:lnSpc>
                <a:spcPct val="150000"/>
              </a:lnSpc>
              <a:buFont typeface="+mj-lt"/>
              <a:buAutoNum type="arabicPeriod"/>
            </a:pPr>
            <a:r>
              <a:rPr lang="zh-CN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完成云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平台老镜像工作流接入可视化图表。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  <a:p>
            <a:pPr marL="228600" indent="-228600" algn="just">
              <a:lnSpc>
                <a:spcPct val="150000"/>
              </a:lnSpc>
              <a:buFont typeface="+mj-lt"/>
              <a:buAutoNum type="arabicPeriod"/>
            </a:pPr>
            <a:r>
              <a:rPr lang="zh-CN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完成云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平台镜像下发支持远程</a:t>
            </a:r>
            <a:r>
              <a:rPr lang="zh-CN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下发（单镜像下发速度提高一倍多，受带宽影响）。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  <a:p>
            <a:pPr marL="228600" indent="-228600" algn="just">
              <a:lnSpc>
                <a:spcPct val="150000"/>
              </a:lnSpc>
              <a:buFont typeface="+mj-lt"/>
              <a:buAutoNum type="arabicPeriod"/>
            </a:pPr>
            <a:r>
              <a:rPr lang="zh-CN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完成云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平台</a:t>
            </a: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2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静态页面生成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cxnSp>
        <p:nvCxnSpPr>
          <p:cNvPr id="19" name="直接连接符 18"/>
          <p:cNvCxnSpPr/>
          <p:nvPr/>
        </p:nvCxnSpPr>
        <p:spPr>
          <a:xfrm>
            <a:off x="5796678" y="1993404"/>
            <a:ext cx="792630" cy="0"/>
          </a:xfrm>
          <a:prstGeom prst="line">
            <a:avLst/>
          </a:prstGeom>
          <a:noFill/>
          <a:ln w="9525" cap="flat" cmpd="sng" algn="ctr">
            <a:solidFill>
              <a:schemeClr val="bg2">
                <a:lumMod val="75000"/>
              </a:schemeClr>
            </a:solidFill>
            <a:prstDash val="sysDash"/>
            <a:headEnd type="oval"/>
            <a:tailEnd type="oval"/>
          </a:ln>
          <a:effectLst/>
        </p:spPr>
      </p:cxnSp>
      <p:sp>
        <p:nvSpPr>
          <p:cNvPr id="20" name="矩形 19"/>
          <p:cNvSpPr/>
          <p:nvPr/>
        </p:nvSpPr>
        <p:spPr>
          <a:xfrm>
            <a:off x="6732240" y="1236156"/>
            <a:ext cx="232962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 algn="just">
              <a:lnSpc>
                <a:spcPct val="150000"/>
              </a:lnSpc>
              <a:buFont typeface="+mj-lt"/>
              <a:buAutoNum type="arabicPeriod"/>
            </a:pPr>
            <a:r>
              <a:rPr lang="zh-CN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完成</a:t>
            </a:r>
            <a:r>
              <a:rPr lang="en-US" altLang="zh-CN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Soul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网关功能测试以及源码研究</a:t>
            </a:r>
            <a:r>
              <a:rPr lang="zh-CN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改造（</a:t>
            </a:r>
            <a:r>
              <a:rPr lang="en-US" altLang="zh-CN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soul</a:t>
            </a:r>
            <a:r>
              <a:rPr lang="zh-CN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压测结果对应用本身影响很小）</a:t>
            </a:r>
            <a:endParaRPr lang="en-US" altLang="zh-CN" sz="1200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  <a:p>
            <a:pPr marL="228600" indent="-228600" algn="just">
              <a:lnSpc>
                <a:spcPct val="150000"/>
              </a:lnSpc>
              <a:buFont typeface="+mj-lt"/>
              <a:buAutoNum type="arabicPeriod"/>
            </a:pPr>
            <a:r>
              <a:rPr lang="en-US" altLang="zh-CN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Soul</a:t>
            </a:r>
            <a:r>
              <a:rPr lang="zh-CN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未进行实际项目考验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cxnSp>
        <p:nvCxnSpPr>
          <p:cNvPr id="21" name="直接连接符 20"/>
          <p:cNvCxnSpPr/>
          <p:nvPr/>
        </p:nvCxnSpPr>
        <p:spPr>
          <a:xfrm>
            <a:off x="5868686" y="3865612"/>
            <a:ext cx="792630" cy="0"/>
          </a:xfrm>
          <a:prstGeom prst="line">
            <a:avLst/>
          </a:prstGeom>
          <a:noFill/>
          <a:ln w="9525" cap="flat" cmpd="sng" algn="ctr">
            <a:solidFill>
              <a:schemeClr val="bg2">
                <a:lumMod val="75000"/>
              </a:schemeClr>
            </a:solidFill>
            <a:prstDash val="sysDash"/>
            <a:headEnd type="oval"/>
            <a:tailEnd type="oval"/>
          </a:ln>
          <a:effectLst/>
        </p:spPr>
      </p:cxnSp>
      <p:sp>
        <p:nvSpPr>
          <p:cNvPr id="22" name="矩形 21"/>
          <p:cNvSpPr/>
          <p:nvPr/>
        </p:nvSpPr>
        <p:spPr>
          <a:xfrm>
            <a:off x="6732240" y="3612420"/>
            <a:ext cx="2329620" cy="8906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 algn="just">
              <a:lnSpc>
                <a:spcPct val="150000"/>
              </a:lnSpc>
              <a:buFont typeface="+mj-lt"/>
              <a:buAutoNum type="arabicPeriod"/>
            </a:pP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OA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升级协助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228600" indent="-228600" algn="just">
              <a:lnSpc>
                <a:spcPct val="150000"/>
              </a:lnSpc>
              <a:buFont typeface="+mj-lt"/>
              <a:buAutoNum type="arabicPeriod"/>
            </a:pPr>
            <a:r>
              <a:rPr lang="zh-CN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完成成都</a:t>
            </a: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CI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到</a:t>
            </a:r>
            <a:r>
              <a:rPr lang="en-US" altLang="zh-CN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docker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云平台镜像自动化构建下发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cxnSp>
        <p:nvCxnSpPr>
          <p:cNvPr id="23" name="直接连接符 22"/>
          <p:cNvCxnSpPr/>
          <p:nvPr/>
        </p:nvCxnSpPr>
        <p:spPr>
          <a:xfrm>
            <a:off x="2339752" y="3937620"/>
            <a:ext cx="792630" cy="0"/>
          </a:xfrm>
          <a:prstGeom prst="line">
            <a:avLst/>
          </a:prstGeom>
          <a:noFill/>
          <a:ln w="9525" cap="flat" cmpd="sng" algn="ctr">
            <a:solidFill>
              <a:schemeClr val="bg2">
                <a:lumMod val="75000"/>
              </a:schemeClr>
            </a:solidFill>
            <a:prstDash val="sysDash"/>
            <a:headEnd type="oval"/>
            <a:tailEnd type="oval"/>
          </a:ln>
          <a:effectLst/>
        </p:spPr>
      </p:cxnSp>
      <p:sp>
        <p:nvSpPr>
          <p:cNvPr id="24" name="矩形 23"/>
          <p:cNvSpPr/>
          <p:nvPr/>
        </p:nvSpPr>
        <p:spPr>
          <a:xfrm>
            <a:off x="107504" y="3950394"/>
            <a:ext cx="219286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 algn="just">
              <a:lnSpc>
                <a:spcPct val="150000"/>
              </a:lnSpc>
              <a:buFont typeface="+mj-lt"/>
              <a:buAutoNum type="arabicPeriod"/>
            </a:pPr>
            <a:r>
              <a:rPr lang="zh-CN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完成</a:t>
            </a:r>
            <a:r>
              <a:rPr lang="en-US" altLang="zh-CN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CJ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展商平台改造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228600" indent="-228600" algn="just">
              <a:lnSpc>
                <a:spcPct val="150000"/>
              </a:lnSpc>
              <a:buFont typeface="+mj-lt"/>
              <a:buAutoNum type="arabicPeriod"/>
            </a:pPr>
            <a:r>
              <a:rPr lang="zh-CN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时限</a:t>
            </a:r>
            <a:r>
              <a:rPr lang="en-US" altLang="zh-CN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CJ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系列项目接入</a:t>
            </a:r>
            <a:r>
              <a:rPr lang="en-US" altLang="zh-CN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jenkins</a:t>
            </a:r>
            <a:endParaRPr lang="en-GB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400208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53" presetClass="entr" presetSubtype="16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11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11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" dur="11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" presetID="8" presetClass="emph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21600000">
                                          <p:cBhvr>
                                            <p:cTn id="11" dur="16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2" fill="hold">
                                <p:stCondLst>
                                  <p:cond delay="1600"/>
                                </p:stCondLst>
                                <p:childTnLst>
                                  <p:par>
                                    <p:cTn id="13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5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6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7" dur="500"/>
                                            <p:tgtEl>
                                              <p:spTgt spid="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8" fill="hold">
                                <p:stCondLst>
                                  <p:cond delay="2100"/>
                                </p:stCondLst>
                                <p:childTnLst>
                                  <p:par>
                                    <p:cTn id="19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1" dur="2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2" dur="2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3" dur="200"/>
                                            <p:tgtEl>
                                              <p:spTgt spid="1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4" presetID="6" presetClass="emph" presetSubtype="0" autoRev="1" fill="hold" grpId="1" nodeType="withEffect">
                                      <p:stCondLst>
                                        <p:cond delay="150"/>
                                      </p:stCondLst>
                                      <p:childTnLst>
                                        <p:animScale>
                                          <p:cBhvr>
                                            <p:cTn id="25" dur="100" fill="hold"/>
                                            <p:tgtEl>
                                              <p:spTgt spid="13"/>
                                            </p:tgtEl>
                                          </p:cBhvr>
                                          <p:by x="130000" y="130000"/>
                                        </p:animScale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6" fill="hold">
                                <p:stCondLst>
                                  <p:cond delay="2450"/>
                                </p:stCondLst>
                                <p:childTnLst>
                                  <p:par>
                                    <p:cTn id="27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9" dur="2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0" dur="2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1" dur="200"/>
                                            <p:tgtEl>
                                              <p:spTgt spid="1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2" presetID="6" presetClass="emph" presetSubtype="0" autoRev="1" fill="hold" grpId="1" nodeType="withEffect">
                                      <p:stCondLst>
                                        <p:cond delay="150"/>
                                      </p:stCondLst>
                                      <p:childTnLst>
                                        <p:animScale>
                                          <p:cBhvr>
                                            <p:cTn id="33" dur="100" fill="hold"/>
                                            <p:tgtEl>
                                              <p:spTgt spid="14"/>
                                            </p:tgtEl>
                                          </p:cBhvr>
                                          <p:by x="130000" y="130000"/>
                                        </p:animScale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4" fill="hold">
                                <p:stCondLst>
                                  <p:cond delay="2800"/>
                                </p:stCondLst>
                                <p:childTnLst>
                                  <p:par>
                                    <p:cTn id="35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7" dur="2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8" dur="2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9" dur="200"/>
                                            <p:tgtEl>
                                              <p:spTgt spid="1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0" presetID="6" presetClass="emph" presetSubtype="0" autoRev="1" fill="hold" grpId="1" nodeType="withEffect">
                                      <p:stCondLst>
                                        <p:cond delay="150"/>
                                      </p:stCondLst>
                                      <p:childTnLst>
                                        <p:animScale>
                                          <p:cBhvr>
                                            <p:cTn id="41" dur="100" fill="hold"/>
                                            <p:tgtEl>
                                              <p:spTgt spid="15"/>
                                            </p:tgtEl>
                                          </p:cBhvr>
                                          <p:by x="130000" y="130000"/>
                                        </p:animScale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2" fill="hold">
                                <p:stCondLst>
                                  <p:cond delay="3150"/>
                                </p:stCondLst>
                                <p:childTnLst>
                                  <p:par>
                                    <p:cTn id="43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45" dur="2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6" dur="2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47" dur="200"/>
                                            <p:tgtEl>
                                              <p:spTgt spid="1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8" presetID="6" presetClass="emph" presetSubtype="0" autoRev="1" fill="hold" grpId="1" nodeType="withEffect">
                                      <p:stCondLst>
                                        <p:cond delay="150"/>
                                      </p:stCondLst>
                                      <p:childTnLst>
                                        <p:animScale>
                                          <p:cBhvr>
                                            <p:cTn id="49" dur="100" fill="hold"/>
                                            <p:tgtEl>
                                              <p:spTgt spid="16"/>
                                            </p:tgtEl>
                                          </p:cBhvr>
                                          <p:by x="130000" y="130000"/>
                                        </p:animScale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0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51" presetID="22" presetClass="entr" presetSubtype="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53" dur="300"/>
                                            <p:tgtEl>
                                              <p:spTgt spid="1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4" fill="hold">
                                <p:stCondLst>
                                  <p:cond delay="3800"/>
                                </p:stCondLst>
                                <p:childTnLst>
                                  <p:par>
                                    <p:cTn id="55" presetID="2" presetClass="entr" presetSubtype="8" fill="hold" grpId="0" nodeType="afterEffect" p14:presetBounceEnd="56667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6667">
                                          <p:cBhvr additive="base">
                                            <p:cTn id="57" dur="3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6667">
                                          <p:cBhvr additive="base">
                                            <p:cTn id="58" dur="3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9" fill="hold">
                                <p:stCondLst>
                                  <p:cond delay="4100"/>
                                </p:stCondLst>
                                <p:childTnLst>
                                  <p:par>
                                    <p:cTn id="60" presetID="2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62" dur="300"/>
                                            <p:tgtEl>
                                              <p:spTgt spid="1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3" fill="hold">
                                <p:stCondLst>
                                  <p:cond delay="4400"/>
                                </p:stCondLst>
                                <p:childTnLst>
                                  <p:par>
                                    <p:cTn id="64" presetID="2" presetClass="entr" presetSubtype="2" fill="hold" grpId="0" nodeType="afterEffect" p14:presetBounceEnd="56667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6667">
                                          <p:cBhvr additive="base">
                                            <p:cTn id="66" dur="3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6667">
                                          <p:cBhvr additive="base">
                                            <p:cTn id="67" dur="3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8" fill="hold">
                                <p:stCondLst>
                                  <p:cond delay="4700"/>
                                </p:stCondLst>
                                <p:childTnLst>
                                  <p:par>
                                    <p:cTn id="69" presetID="2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71" dur="300"/>
                                            <p:tgtEl>
                                              <p:spTgt spid="2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72" fill="hold">
                                <p:stCondLst>
                                  <p:cond delay="5000"/>
                                </p:stCondLst>
                                <p:childTnLst>
                                  <p:par>
                                    <p:cTn id="73" presetID="2" presetClass="entr" presetSubtype="2" fill="hold" grpId="0" nodeType="afterEffect" p14:presetBounceEnd="56667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6667">
                                          <p:cBhvr additive="base">
                                            <p:cTn id="75" dur="3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6667">
                                          <p:cBhvr additive="base">
                                            <p:cTn id="76" dur="3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77" fill="hold">
                                <p:stCondLst>
                                  <p:cond delay="5300"/>
                                </p:stCondLst>
                                <p:childTnLst>
                                  <p:par>
                                    <p:cTn id="78" presetID="22" presetClass="entr" presetSubtype="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80" dur="30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1" fill="hold">
                                <p:stCondLst>
                                  <p:cond delay="5600"/>
                                </p:stCondLst>
                                <p:childTnLst>
                                  <p:par>
                                    <p:cTn id="82" presetID="2" presetClass="entr" presetSubtype="8" fill="hold" grpId="0" nodeType="afterEffect" p14:presetBounceEnd="56667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6667">
                                          <p:cBhvr additive="base">
                                            <p:cTn id="84" dur="3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6667">
                                          <p:cBhvr additive="base">
                                            <p:cTn id="85" dur="3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 animBg="1"/>
          <p:bldP spid="13" grpId="0"/>
          <p:bldP spid="13" grpId="1"/>
          <p:bldP spid="14" grpId="0"/>
          <p:bldP spid="14" grpId="1"/>
          <p:bldP spid="15" grpId="0"/>
          <p:bldP spid="15" grpId="1"/>
          <p:bldP spid="16" grpId="0"/>
          <p:bldP spid="16" grpId="1"/>
          <p:bldP spid="18" grpId="0"/>
          <p:bldP spid="20" grpId="0"/>
          <p:bldP spid="22" grpId="0"/>
          <p:bldP spid="24" grpId="0"/>
        </p:bldLst>
      </p:timing>
    </mc:Choice>
    <mc:Fallback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53" presetClass="entr" presetSubtype="16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11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11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" dur="11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" presetID="8" presetClass="emph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21600000">
                                          <p:cBhvr>
                                            <p:cTn id="11" dur="16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2" fill="hold">
                                <p:stCondLst>
                                  <p:cond delay="1600"/>
                                </p:stCondLst>
                                <p:childTnLst>
                                  <p:par>
                                    <p:cTn id="13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5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6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7" dur="500"/>
                                            <p:tgtEl>
                                              <p:spTgt spid="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8" fill="hold">
                                <p:stCondLst>
                                  <p:cond delay="2100"/>
                                </p:stCondLst>
                                <p:childTnLst>
                                  <p:par>
                                    <p:cTn id="19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1" dur="2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2" dur="2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3" dur="200"/>
                                            <p:tgtEl>
                                              <p:spTgt spid="1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4" presetID="6" presetClass="emph" presetSubtype="0" autoRev="1" fill="hold" grpId="1" nodeType="withEffect">
                                      <p:stCondLst>
                                        <p:cond delay="150"/>
                                      </p:stCondLst>
                                      <p:childTnLst>
                                        <p:animScale>
                                          <p:cBhvr>
                                            <p:cTn id="25" dur="100" fill="hold"/>
                                            <p:tgtEl>
                                              <p:spTgt spid="13"/>
                                            </p:tgtEl>
                                          </p:cBhvr>
                                          <p:by x="130000" y="130000"/>
                                        </p:animScale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6" fill="hold">
                                <p:stCondLst>
                                  <p:cond delay="2450"/>
                                </p:stCondLst>
                                <p:childTnLst>
                                  <p:par>
                                    <p:cTn id="27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9" dur="2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0" dur="2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1" dur="200"/>
                                            <p:tgtEl>
                                              <p:spTgt spid="1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2" presetID="6" presetClass="emph" presetSubtype="0" autoRev="1" fill="hold" grpId="1" nodeType="withEffect">
                                      <p:stCondLst>
                                        <p:cond delay="150"/>
                                      </p:stCondLst>
                                      <p:childTnLst>
                                        <p:animScale>
                                          <p:cBhvr>
                                            <p:cTn id="33" dur="100" fill="hold"/>
                                            <p:tgtEl>
                                              <p:spTgt spid="14"/>
                                            </p:tgtEl>
                                          </p:cBhvr>
                                          <p:by x="130000" y="130000"/>
                                        </p:animScale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4" fill="hold">
                                <p:stCondLst>
                                  <p:cond delay="2800"/>
                                </p:stCondLst>
                                <p:childTnLst>
                                  <p:par>
                                    <p:cTn id="35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7" dur="2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8" dur="2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9" dur="200"/>
                                            <p:tgtEl>
                                              <p:spTgt spid="1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0" presetID="6" presetClass="emph" presetSubtype="0" autoRev="1" fill="hold" grpId="1" nodeType="withEffect">
                                      <p:stCondLst>
                                        <p:cond delay="150"/>
                                      </p:stCondLst>
                                      <p:childTnLst>
                                        <p:animScale>
                                          <p:cBhvr>
                                            <p:cTn id="41" dur="100" fill="hold"/>
                                            <p:tgtEl>
                                              <p:spTgt spid="15"/>
                                            </p:tgtEl>
                                          </p:cBhvr>
                                          <p:by x="130000" y="130000"/>
                                        </p:animScale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2" fill="hold">
                                <p:stCondLst>
                                  <p:cond delay="3150"/>
                                </p:stCondLst>
                                <p:childTnLst>
                                  <p:par>
                                    <p:cTn id="43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45" dur="2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6" dur="2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47" dur="200"/>
                                            <p:tgtEl>
                                              <p:spTgt spid="1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8" presetID="6" presetClass="emph" presetSubtype="0" autoRev="1" fill="hold" grpId="1" nodeType="withEffect">
                                      <p:stCondLst>
                                        <p:cond delay="150"/>
                                      </p:stCondLst>
                                      <p:childTnLst>
                                        <p:animScale>
                                          <p:cBhvr>
                                            <p:cTn id="49" dur="100" fill="hold"/>
                                            <p:tgtEl>
                                              <p:spTgt spid="16"/>
                                            </p:tgtEl>
                                          </p:cBhvr>
                                          <p:by x="130000" y="130000"/>
                                        </p:animScale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0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51" presetID="22" presetClass="entr" presetSubtype="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53" dur="300"/>
                                            <p:tgtEl>
                                              <p:spTgt spid="1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4" fill="hold">
                                <p:stCondLst>
                                  <p:cond delay="3800"/>
                                </p:stCondLst>
                                <p:childTnLst>
                                  <p:par>
                                    <p:cTn id="55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57" dur="3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58" dur="3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9" fill="hold">
                                <p:stCondLst>
                                  <p:cond delay="4100"/>
                                </p:stCondLst>
                                <p:childTnLst>
                                  <p:par>
                                    <p:cTn id="60" presetID="2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62" dur="300"/>
                                            <p:tgtEl>
                                              <p:spTgt spid="1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3" fill="hold">
                                <p:stCondLst>
                                  <p:cond delay="4400"/>
                                </p:stCondLst>
                                <p:childTnLst>
                                  <p:par>
                                    <p:cTn id="64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66" dur="3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67" dur="3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8" fill="hold">
                                <p:stCondLst>
                                  <p:cond delay="4700"/>
                                </p:stCondLst>
                                <p:childTnLst>
                                  <p:par>
                                    <p:cTn id="69" presetID="2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71" dur="300"/>
                                            <p:tgtEl>
                                              <p:spTgt spid="2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72" fill="hold">
                                <p:stCondLst>
                                  <p:cond delay="5000"/>
                                </p:stCondLst>
                                <p:childTnLst>
                                  <p:par>
                                    <p:cTn id="73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5" dur="3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76" dur="3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77" fill="hold">
                                <p:stCondLst>
                                  <p:cond delay="5300"/>
                                </p:stCondLst>
                                <p:childTnLst>
                                  <p:par>
                                    <p:cTn id="78" presetID="22" presetClass="entr" presetSubtype="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80" dur="30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1" fill="hold">
                                <p:stCondLst>
                                  <p:cond delay="5600"/>
                                </p:stCondLst>
                                <p:childTnLst>
                                  <p:par>
                                    <p:cTn id="82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84" dur="3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5" dur="3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 animBg="1"/>
          <p:bldP spid="13" grpId="0"/>
          <p:bldP spid="13" grpId="1"/>
          <p:bldP spid="14" grpId="0"/>
          <p:bldP spid="14" grpId="1"/>
          <p:bldP spid="15" grpId="0"/>
          <p:bldP spid="15" grpId="1"/>
          <p:bldP spid="16" grpId="0"/>
          <p:bldP spid="16" grpId="1"/>
          <p:bldP spid="18" grpId="0"/>
          <p:bldP spid="20" grpId="0"/>
          <p:bldP spid="22" grpId="0"/>
          <p:bldP spid="24" grpId="0"/>
        </p:bldLst>
      </p:timing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3C2100-B283-423C-80F9-9CBC96B9E551}" type="slidenum">
              <a:rPr lang="zh-CN" altLang="en-US" smtClean="0"/>
              <a:pPr/>
              <a:t>6</a:t>
            </a:fld>
            <a:endParaRPr lang="zh-CN" altLang="en-US" dirty="0"/>
          </a:p>
        </p:txBody>
      </p:sp>
      <p:cxnSp>
        <p:nvCxnSpPr>
          <p:cNvPr id="7" name="直接连接符 6"/>
          <p:cNvCxnSpPr/>
          <p:nvPr>
            <p:custDataLst>
              <p:tags r:id="rId1"/>
            </p:custDataLst>
          </p:nvPr>
        </p:nvCxnSpPr>
        <p:spPr>
          <a:xfrm>
            <a:off x="0" y="4153644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接连接符 14"/>
          <p:cNvCxnSpPr/>
          <p:nvPr>
            <p:custDataLst>
              <p:tags r:id="rId2"/>
            </p:custDataLst>
          </p:nvPr>
        </p:nvCxnSpPr>
        <p:spPr>
          <a:xfrm>
            <a:off x="0" y="2713484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文本框 7"/>
          <p:cNvSpPr txBox="1"/>
          <p:nvPr>
            <p:custDataLst>
              <p:tags r:id="rId3"/>
            </p:custDataLst>
          </p:nvPr>
        </p:nvSpPr>
        <p:spPr>
          <a:xfrm>
            <a:off x="2678026" y="2610365"/>
            <a:ext cx="3427667" cy="490587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altLang="zh-CN" sz="2800" dirty="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PART</a:t>
            </a:r>
          </a:p>
        </p:txBody>
      </p:sp>
      <p:sp>
        <p:nvSpPr>
          <p:cNvPr id="9" name="MH_Entry_1"/>
          <p:cNvSpPr/>
          <p:nvPr>
            <p:custDataLst>
              <p:tags r:id="rId4"/>
            </p:custDataLst>
          </p:nvPr>
        </p:nvSpPr>
        <p:spPr>
          <a:xfrm>
            <a:off x="1835696" y="3353425"/>
            <a:ext cx="4618807" cy="800219"/>
          </a:xfrm>
          <a:custGeom>
            <a:avLst/>
            <a:gdLst>
              <a:gd name="connsiteX0" fmla="*/ 0 w 2520280"/>
              <a:gd name="connsiteY0" fmla="*/ 1584176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1584176 h 1872208"/>
              <a:gd name="connsiteX5" fmla="*/ 0 w 2520280"/>
              <a:gd name="connsiteY5" fmla="*/ 0 h 1872208"/>
              <a:gd name="connsiteX6" fmla="*/ 2520280 w 2520280"/>
              <a:gd name="connsiteY6" fmla="*/ 0 h 1872208"/>
              <a:gd name="connsiteX7" fmla="*/ 2520280 w 2520280"/>
              <a:gd name="connsiteY7" fmla="*/ 288032 h 1872208"/>
              <a:gd name="connsiteX8" fmla="*/ 0 w 2520280"/>
              <a:gd name="connsiteY8" fmla="*/ 0 h 1872208"/>
              <a:gd name="connsiteX0" fmla="*/ 0 w 2520280"/>
              <a:gd name="connsiteY0" fmla="*/ 1584176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1584176 h 1872208"/>
              <a:gd name="connsiteX5" fmla="*/ 0 w 2520280"/>
              <a:gd name="connsiteY5" fmla="*/ 0 h 1872208"/>
              <a:gd name="connsiteX6" fmla="*/ 2520280 w 2520280"/>
              <a:gd name="connsiteY6" fmla="*/ 0 h 1872208"/>
              <a:gd name="connsiteX7" fmla="*/ 0 w 2520280"/>
              <a:gd name="connsiteY7" fmla="*/ 0 h 1872208"/>
              <a:gd name="connsiteX0" fmla="*/ 0 w 2520280"/>
              <a:gd name="connsiteY0" fmla="*/ 1872208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0 h 1872208"/>
              <a:gd name="connsiteX5" fmla="*/ 2520280 w 2520280"/>
              <a:gd name="connsiteY5" fmla="*/ 0 h 1872208"/>
              <a:gd name="connsiteX6" fmla="*/ 0 w 2520280"/>
              <a:gd name="connsiteY6" fmla="*/ 0 h 1872208"/>
              <a:gd name="connsiteX0" fmla="*/ 0 w 2520280"/>
              <a:gd name="connsiteY0" fmla="*/ 1872208 h 1872208"/>
              <a:gd name="connsiteX1" fmla="*/ 2520280 w 2520280"/>
              <a:gd name="connsiteY1" fmla="*/ 1872208 h 1872208"/>
              <a:gd name="connsiteX2" fmla="*/ 0 w 2520280"/>
              <a:gd name="connsiteY2" fmla="*/ 1872208 h 1872208"/>
              <a:gd name="connsiteX3" fmla="*/ 0 w 2520280"/>
              <a:gd name="connsiteY3" fmla="*/ 0 h 1872208"/>
              <a:gd name="connsiteX4" fmla="*/ 2520280 w 2520280"/>
              <a:gd name="connsiteY4" fmla="*/ 0 h 1872208"/>
              <a:gd name="connsiteX5" fmla="*/ 0 w 2520280"/>
              <a:gd name="connsiteY5" fmla="*/ 0 h 1872208"/>
              <a:gd name="connsiteX0" fmla="*/ 0 w 2520280"/>
              <a:gd name="connsiteY0" fmla="*/ 1872208 h 1872208"/>
              <a:gd name="connsiteX1" fmla="*/ 2520280 w 2520280"/>
              <a:gd name="connsiteY1" fmla="*/ 1872208 h 1872208"/>
              <a:gd name="connsiteX2" fmla="*/ 0 w 2520280"/>
              <a:gd name="connsiteY2" fmla="*/ 1872208 h 1872208"/>
              <a:gd name="connsiteX3" fmla="*/ 0 w 2520280"/>
              <a:gd name="connsiteY3" fmla="*/ 0 h 1872208"/>
              <a:gd name="connsiteX4" fmla="*/ 34255 w 2520280"/>
              <a:gd name="connsiteY4" fmla="*/ 0 h 1872208"/>
              <a:gd name="connsiteX5" fmla="*/ 0 w 2520280"/>
              <a:gd name="connsiteY5" fmla="*/ 0 h 1872208"/>
              <a:gd name="connsiteX0" fmla="*/ 0 w 2520280"/>
              <a:gd name="connsiteY0" fmla="*/ 1872208 h 1872208"/>
              <a:gd name="connsiteX1" fmla="*/ 2520280 w 2520280"/>
              <a:gd name="connsiteY1" fmla="*/ 1872208 h 1872208"/>
              <a:gd name="connsiteX2" fmla="*/ 0 w 2520280"/>
              <a:gd name="connsiteY2" fmla="*/ 1872208 h 1872208"/>
              <a:gd name="connsiteX3" fmla="*/ 0 w 2520280"/>
              <a:gd name="connsiteY3" fmla="*/ 0 h 1872208"/>
              <a:gd name="connsiteX4" fmla="*/ 917 w 2520280"/>
              <a:gd name="connsiteY4" fmla="*/ 6036 h 1872208"/>
              <a:gd name="connsiteX5" fmla="*/ 0 w 2520280"/>
              <a:gd name="connsiteY5" fmla="*/ 0 h 1872208"/>
              <a:gd name="connsiteX0" fmla="*/ 0 w 2520280"/>
              <a:gd name="connsiteY0" fmla="*/ 1890314 h 1890314"/>
              <a:gd name="connsiteX1" fmla="*/ 2520280 w 2520280"/>
              <a:gd name="connsiteY1" fmla="*/ 1890314 h 1890314"/>
              <a:gd name="connsiteX2" fmla="*/ 0 w 2520280"/>
              <a:gd name="connsiteY2" fmla="*/ 1890314 h 1890314"/>
              <a:gd name="connsiteX3" fmla="*/ 0 w 2520280"/>
              <a:gd name="connsiteY3" fmla="*/ 18106 h 1890314"/>
              <a:gd name="connsiteX4" fmla="*/ 53304 w 2520280"/>
              <a:gd name="connsiteY4" fmla="*/ 0 h 1890314"/>
              <a:gd name="connsiteX5" fmla="*/ 0 w 2520280"/>
              <a:gd name="connsiteY5" fmla="*/ 18106 h 1890314"/>
              <a:gd name="connsiteX0" fmla="*/ 0 w 2520280"/>
              <a:gd name="connsiteY0" fmla="*/ 1872208 h 1872208"/>
              <a:gd name="connsiteX1" fmla="*/ 2520280 w 2520280"/>
              <a:gd name="connsiteY1" fmla="*/ 1872208 h 1872208"/>
              <a:gd name="connsiteX2" fmla="*/ 0 w 2520280"/>
              <a:gd name="connsiteY2" fmla="*/ 1872208 h 1872208"/>
              <a:gd name="connsiteX3" fmla="*/ 0 w 2520280"/>
              <a:gd name="connsiteY3" fmla="*/ 0 h 1872208"/>
              <a:gd name="connsiteX4" fmla="*/ 916 w 2520280"/>
              <a:gd name="connsiteY4" fmla="*/ 0 h 1872208"/>
              <a:gd name="connsiteX5" fmla="*/ 0 w 2520280"/>
              <a:gd name="connsiteY5" fmla="*/ 0 h 1872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20280" h="1872208">
                <a:moveTo>
                  <a:pt x="0" y="1872208"/>
                </a:moveTo>
                <a:lnTo>
                  <a:pt x="2520280" y="1872208"/>
                </a:lnTo>
                <a:lnTo>
                  <a:pt x="0" y="1872208"/>
                </a:lnTo>
                <a:close/>
                <a:moveTo>
                  <a:pt x="0" y="0"/>
                </a:moveTo>
                <a:lnTo>
                  <a:pt x="916" y="0"/>
                </a:lnTo>
                <a:lnTo>
                  <a:pt x="0" y="0"/>
                </a:lnTo>
                <a:close/>
              </a:path>
            </a:pathLst>
          </a:custGeom>
          <a:noFill/>
          <a:ln w="3175" cap="sq">
            <a:noFill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zh-CN" altLang="en-US" sz="3600" dirty="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问题及改进措施</a:t>
            </a:r>
            <a:endParaRPr lang="en-US" altLang="zh-CN" sz="36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algn="ctr"/>
            <a:r>
              <a:rPr lang="en-US" altLang="zh-CN" sz="1600" dirty="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PROBLEMS </a:t>
            </a:r>
            <a:r>
              <a:rPr lang="en-US" altLang="zh-CN" sz="16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AND IMPROVEMENT MEASURES</a:t>
            </a:r>
            <a:endParaRPr lang="zh-CN" altLang="en-US" sz="16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61903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ym typeface="Arial" panose="020B0604020202020204" pitchFamily="34" charset="0"/>
              </a:rPr>
              <a:t>问题及改进</a:t>
            </a:r>
            <a:r>
              <a:rPr lang="zh-CN" altLang="en-US" dirty="0" smtClean="0">
                <a:sym typeface="Arial" panose="020B0604020202020204" pitchFamily="34" charset="0"/>
              </a:rPr>
              <a:t>措施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3C2100-B283-423C-80F9-9CBC96B9E551}" type="slidenum">
              <a:rPr lang="zh-CN" altLang="en-US" smtClean="0"/>
              <a:pPr/>
              <a:t>7</a:t>
            </a:fld>
            <a:endParaRPr lang="zh-CN" altLang="en-US" dirty="0"/>
          </a:p>
        </p:txBody>
      </p:sp>
      <p:sp>
        <p:nvSpPr>
          <p:cNvPr id="6" name="4 Decisión"/>
          <p:cNvSpPr>
            <a:spLocks noChangeAspect="1"/>
          </p:cNvSpPr>
          <p:nvPr/>
        </p:nvSpPr>
        <p:spPr bwMode="auto">
          <a:xfrm>
            <a:off x="2987824" y="1057300"/>
            <a:ext cx="3166264" cy="3166102"/>
          </a:xfrm>
          <a:prstGeom prst="flowChartDecision">
            <a:avLst/>
          </a:prstGeom>
          <a:solidFill>
            <a:schemeClr val="bg1">
              <a:lumMod val="75000"/>
            </a:schemeClr>
          </a:solidFill>
          <a:ln w="3175" cap="rnd" cmpd="sng">
            <a:solidFill>
              <a:schemeClr val="bg1"/>
            </a:solidFill>
            <a:bevel/>
          </a:ln>
          <a:effectLst/>
          <a:scene3d>
            <a:camera prst="orthographicFront"/>
            <a:lightRig rig="threePt" dir="t"/>
          </a:scene3d>
          <a:sp3d>
            <a:contourClr>
              <a:srgbClr val="BEC7CC"/>
            </a:contourClr>
          </a:sp3d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334" tIns="17667" rIns="35334" bIns="17667" rtlCol="0" anchor="ctr"/>
          <a:lstStyle/>
          <a:p>
            <a:pPr algn="ctr" defTabSz="1248295"/>
            <a:endParaRPr lang="es-SV" sz="110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grpSp>
        <p:nvGrpSpPr>
          <p:cNvPr id="7" name="44 Grupo"/>
          <p:cNvGrpSpPr/>
          <p:nvPr/>
        </p:nvGrpSpPr>
        <p:grpSpPr>
          <a:xfrm>
            <a:off x="2728954" y="1496245"/>
            <a:ext cx="1095850" cy="614282"/>
            <a:chOff x="4215925" y="4571410"/>
            <a:chExt cx="3253101" cy="1823625"/>
          </a:xfrm>
          <a:solidFill>
            <a:schemeClr val="accent1"/>
          </a:solidFill>
        </p:grpSpPr>
        <p:sp>
          <p:nvSpPr>
            <p:cNvPr id="8" name="19 Rectángulo"/>
            <p:cNvSpPr>
              <a:spLocks noChangeAspect="1"/>
            </p:cNvSpPr>
            <p:nvPr/>
          </p:nvSpPr>
          <p:spPr bwMode="auto">
            <a:xfrm rot="5400000" flipH="1">
              <a:off x="4930663" y="3856672"/>
              <a:ext cx="1823625" cy="3253101"/>
            </a:xfrm>
            <a:custGeom>
              <a:avLst/>
              <a:gdLst/>
              <a:ahLst/>
              <a:cxnLst/>
              <a:rect l="l" t="t" r="r" b="b"/>
              <a:pathLst>
                <a:path w="10303488" h="18380035">
                  <a:moveTo>
                    <a:pt x="10303485" y="5458816"/>
                  </a:moveTo>
                  <a:cubicBezTo>
                    <a:pt x="10303590" y="5440216"/>
                    <a:pt x="10301433" y="5421588"/>
                    <a:pt x="10296954" y="5403392"/>
                  </a:cubicBezTo>
                  <a:cubicBezTo>
                    <a:pt x="10296750" y="5395536"/>
                    <a:pt x="10295347" y="5387946"/>
                    <a:pt x="10292916" y="5380670"/>
                  </a:cubicBezTo>
                  <a:cubicBezTo>
                    <a:pt x="10293049" y="5372140"/>
                    <a:pt x="10290430" y="5364550"/>
                    <a:pt x="10286345" y="5357594"/>
                  </a:cubicBezTo>
                  <a:cubicBezTo>
                    <a:pt x="10269833" y="5302616"/>
                    <a:pt x="10236204" y="5256238"/>
                    <a:pt x="10190219" y="5228930"/>
                  </a:cubicBezTo>
                  <a:lnTo>
                    <a:pt x="5463578" y="67688"/>
                  </a:lnTo>
                  <a:cubicBezTo>
                    <a:pt x="5422312" y="22644"/>
                    <a:pt x="5368196" y="70"/>
                    <a:pt x="5314056" y="0"/>
                  </a:cubicBezTo>
                  <a:cubicBezTo>
                    <a:pt x="5259909" y="-78"/>
                    <a:pt x="5205738" y="22354"/>
                    <a:pt x="5164378" y="67296"/>
                  </a:cubicBezTo>
                  <a:lnTo>
                    <a:pt x="398902" y="5245654"/>
                  </a:lnTo>
                  <a:cubicBezTo>
                    <a:pt x="367030" y="5270462"/>
                    <a:pt x="343366" y="5305634"/>
                    <a:pt x="328893" y="5345880"/>
                  </a:cubicBezTo>
                  <a:cubicBezTo>
                    <a:pt x="325835" y="5351142"/>
                    <a:pt x="323804" y="5356866"/>
                    <a:pt x="323906" y="5363366"/>
                  </a:cubicBezTo>
                  <a:cubicBezTo>
                    <a:pt x="317084" y="5382292"/>
                    <a:pt x="313368" y="5402584"/>
                    <a:pt x="313070" y="5423660"/>
                  </a:cubicBezTo>
                  <a:cubicBezTo>
                    <a:pt x="310749" y="5429384"/>
                    <a:pt x="310639" y="5435248"/>
                    <a:pt x="311455" y="5441098"/>
                  </a:cubicBezTo>
                  <a:cubicBezTo>
                    <a:pt x="311376" y="5441890"/>
                    <a:pt x="311306" y="5442682"/>
                    <a:pt x="311235" y="5443466"/>
                  </a:cubicBezTo>
                  <a:cubicBezTo>
                    <a:pt x="311235" y="5588064"/>
                    <a:pt x="418841" y="5705280"/>
                    <a:pt x="551591" y="5705280"/>
                  </a:cubicBezTo>
                  <a:lnTo>
                    <a:pt x="1755297" y="5705280"/>
                  </a:lnTo>
                  <a:cubicBezTo>
                    <a:pt x="1755297" y="5705798"/>
                    <a:pt x="1755297" y="5706308"/>
                    <a:pt x="1755289" y="5706826"/>
                  </a:cubicBezTo>
                  <a:lnTo>
                    <a:pt x="1822170" y="5706826"/>
                  </a:lnTo>
                  <a:lnTo>
                    <a:pt x="1822170" y="16299975"/>
                  </a:lnTo>
                  <a:lnTo>
                    <a:pt x="555650" y="17578534"/>
                  </a:lnTo>
                  <a:lnTo>
                    <a:pt x="53944" y="18080240"/>
                  </a:lnTo>
                  <a:lnTo>
                    <a:pt x="54219" y="18080276"/>
                  </a:lnTo>
                  <a:lnTo>
                    <a:pt x="0" y="18133506"/>
                  </a:lnTo>
                  <a:cubicBezTo>
                    <a:pt x="313297" y="18315142"/>
                    <a:pt x="1087673" y="18728722"/>
                    <a:pt x="2259397" y="17773322"/>
                  </a:cubicBezTo>
                  <a:cubicBezTo>
                    <a:pt x="3431121" y="16817914"/>
                    <a:pt x="8842997" y="11481136"/>
                    <a:pt x="8860058" y="10776732"/>
                  </a:cubicBezTo>
                  <a:cubicBezTo>
                    <a:pt x="8877127" y="10072332"/>
                    <a:pt x="8859478" y="7395766"/>
                    <a:pt x="8859180" y="5705280"/>
                  </a:cubicBezTo>
                  <a:lnTo>
                    <a:pt x="10060307" y="5705280"/>
                  </a:lnTo>
                  <a:cubicBezTo>
                    <a:pt x="10130685" y="5705280"/>
                    <a:pt x="10194006" y="5672326"/>
                    <a:pt x="10236565" y="5618414"/>
                  </a:cubicBezTo>
                  <a:lnTo>
                    <a:pt x="10238078" y="5618414"/>
                  </a:lnTo>
                  <a:lnTo>
                    <a:pt x="10243096" y="5612972"/>
                  </a:lnTo>
                  <a:cubicBezTo>
                    <a:pt x="10282502" y="5570150"/>
                    <a:pt x="10303172" y="5514614"/>
                    <a:pt x="10303485" y="5458816"/>
                  </a:cubicBezTo>
                  <a:close/>
                </a:path>
              </a:pathLst>
            </a:custGeom>
            <a:grpFill/>
            <a:ln>
              <a:noFill/>
            </a:ln>
            <a:effectLst>
              <a:outerShdw blurRad="469900" dist="304800" dir="7200000" sx="89000" sy="89000" algn="ctr" rotWithShape="0">
                <a:srgbClr val="000000">
                  <a:alpha val="83000"/>
                </a:srgbClr>
              </a:outerShdw>
            </a:effectLst>
            <a:extLst/>
          </p:spPr>
          <p:txBody>
            <a:bodyPr lIns="0" tIns="0" rIns="0" bIns="0" rtlCol="0" anchor="ctr"/>
            <a:lstStyle/>
            <a:p>
              <a:pPr algn="ctr" defTabSz="1248295"/>
              <a:endParaRPr lang="es-SV" sz="4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endParaRPr>
            </a:p>
          </p:txBody>
        </p:sp>
        <p:sp>
          <p:nvSpPr>
            <p:cNvPr id="9" name="34 Rectángulo redondeado"/>
            <p:cNvSpPr/>
            <p:nvPr/>
          </p:nvSpPr>
          <p:spPr bwMode="auto">
            <a:xfrm>
              <a:off x="4274563" y="6072614"/>
              <a:ext cx="309361" cy="303855"/>
            </a:xfrm>
            <a:custGeom>
              <a:avLst/>
              <a:gdLst/>
              <a:ahLst/>
              <a:cxnLst/>
              <a:rect l="l" t="t" r="r" b="b"/>
              <a:pathLst>
                <a:path w="1699458" h="1682246">
                  <a:moveTo>
                    <a:pt x="1326352" y="0"/>
                  </a:moveTo>
                  <a:lnTo>
                    <a:pt x="1699458" y="0"/>
                  </a:lnTo>
                  <a:lnTo>
                    <a:pt x="17212" y="1682246"/>
                  </a:lnTo>
                  <a:cubicBezTo>
                    <a:pt x="5314" y="1616074"/>
                    <a:pt x="0" y="1548019"/>
                    <a:pt x="0" y="1478723"/>
                  </a:cubicBezTo>
                  <a:lnTo>
                    <a:pt x="0" y="1326353"/>
                  </a:lnTo>
                  <a:cubicBezTo>
                    <a:pt x="0" y="593828"/>
                    <a:pt x="593828" y="0"/>
                    <a:pt x="1326352" y="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0" tIns="0" rIns="0" bIns="0" rtlCol="0" anchor="ctr"/>
            <a:lstStyle/>
            <a:p>
              <a:pPr algn="ctr" defTabSz="1248295"/>
              <a:endParaRPr lang="es-SV" sz="11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0" name="45 Grupo"/>
          <p:cNvGrpSpPr/>
          <p:nvPr/>
        </p:nvGrpSpPr>
        <p:grpSpPr>
          <a:xfrm flipH="1">
            <a:off x="5320656" y="1496245"/>
            <a:ext cx="1095850" cy="614282"/>
            <a:chOff x="4215925" y="4571410"/>
            <a:chExt cx="3253101" cy="1823625"/>
          </a:xfrm>
          <a:solidFill>
            <a:schemeClr val="accent2"/>
          </a:solidFill>
        </p:grpSpPr>
        <p:sp>
          <p:nvSpPr>
            <p:cNvPr id="11" name="19 Rectángulo"/>
            <p:cNvSpPr>
              <a:spLocks noChangeAspect="1"/>
            </p:cNvSpPr>
            <p:nvPr/>
          </p:nvSpPr>
          <p:spPr bwMode="auto">
            <a:xfrm rot="5400000" flipH="1">
              <a:off x="4930663" y="3856672"/>
              <a:ext cx="1823625" cy="3253101"/>
            </a:xfrm>
            <a:custGeom>
              <a:avLst/>
              <a:gdLst/>
              <a:ahLst/>
              <a:cxnLst/>
              <a:rect l="l" t="t" r="r" b="b"/>
              <a:pathLst>
                <a:path w="10303488" h="18380035">
                  <a:moveTo>
                    <a:pt x="10303485" y="5458816"/>
                  </a:moveTo>
                  <a:cubicBezTo>
                    <a:pt x="10303590" y="5440216"/>
                    <a:pt x="10301433" y="5421588"/>
                    <a:pt x="10296954" y="5403392"/>
                  </a:cubicBezTo>
                  <a:cubicBezTo>
                    <a:pt x="10296750" y="5395536"/>
                    <a:pt x="10295347" y="5387946"/>
                    <a:pt x="10292916" y="5380670"/>
                  </a:cubicBezTo>
                  <a:cubicBezTo>
                    <a:pt x="10293049" y="5372140"/>
                    <a:pt x="10290430" y="5364550"/>
                    <a:pt x="10286345" y="5357594"/>
                  </a:cubicBezTo>
                  <a:cubicBezTo>
                    <a:pt x="10269833" y="5302616"/>
                    <a:pt x="10236204" y="5256238"/>
                    <a:pt x="10190219" y="5228930"/>
                  </a:cubicBezTo>
                  <a:lnTo>
                    <a:pt x="5463578" y="67688"/>
                  </a:lnTo>
                  <a:cubicBezTo>
                    <a:pt x="5422312" y="22644"/>
                    <a:pt x="5368196" y="70"/>
                    <a:pt x="5314056" y="0"/>
                  </a:cubicBezTo>
                  <a:cubicBezTo>
                    <a:pt x="5259909" y="-78"/>
                    <a:pt x="5205738" y="22354"/>
                    <a:pt x="5164378" y="67296"/>
                  </a:cubicBezTo>
                  <a:lnTo>
                    <a:pt x="398902" y="5245654"/>
                  </a:lnTo>
                  <a:cubicBezTo>
                    <a:pt x="367030" y="5270462"/>
                    <a:pt x="343366" y="5305634"/>
                    <a:pt x="328893" y="5345880"/>
                  </a:cubicBezTo>
                  <a:cubicBezTo>
                    <a:pt x="325835" y="5351142"/>
                    <a:pt x="323804" y="5356866"/>
                    <a:pt x="323906" y="5363366"/>
                  </a:cubicBezTo>
                  <a:cubicBezTo>
                    <a:pt x="317084" y="5382292"/>
                    <a:pt x="313368" y="5402584"/>
                    <a:pt x="313070" y="5423660"/>
                  </a:cubicBezTo>
                  <a:cubicBezTo>
                    <a:pt x="310749" y="5429384"/>
                    <a:pt x="310639" y="5435248"/>
                    <a:pt x="311455" y="5441098"/>
                  </a:cubicBezTo>
                  <a:cubicBezTo>
                    <a:pt x="311376" y="5441890"/>
                    <a:pt x="311306" y="5442682"/>
                    <a:pt x="311235" y="5443466"/>
                  </a:cubicBezTo>
                  <a:cubicBezTo>
                    <a:pt x="311235" y="5588064"/>
                    <a:pt x="418841" y="5705280"/>
                    <a:pt x="551591" y="5705280"/>
                  </a:cubicBezTo>
                  <a:lnTo>
                    <a:pt x="1755297" y="5705280"/>
                  </a:lnTo>
                  <a:cubicBezTo>
                    <a:pt x="1755297" y="5705798"/>
                    <a:pt x="1755297" y="5706308"/>
                    <a:pt x="1755289" y="5706826"/>
                  </a:cubicBezTo>
                  <a:lnTo>
                    <a:pt x="1822170" y="5706826"/>
                  </a:lnTo>
                  <a:lnTo>
                    <a:pt x="1822170" y="16299975"/>
                  </a:lnTo>
                  <a:lnTo>
                    <a:pt x="555650" y="17578534"/>
                  </a:lnTo>
                  <a:lnTo>
                    <a:pt x="53944" y="18080240"/>
                  </a:lnTo>
                  <a:lnTo>
                    <a:pt x="54219" y="18080276"/>
                  </a:lnTo>
                  <a:lnTo>
                    <a:pt x="0" y="18133506"/>
                  </a:lnTo>
                  <a:cubicBezTo>
                    <a:pt x="313297" y="18315142"/>
                    <a:pt x="1087673" y="18728722"/>
                    <a:pt x="2259397" y="17773322"/>
                  </a:cubicBezTo>
                  <a:cubicBezTo>
                    <a:pt x="3431121" y="16817914"/>
                    <a:pt x="8842997" y="11481136"/>
                    <a:pt x="8860058" y="10776732"/>
                  </a:cubicBezTo>
                  <a:cubicBezTo>
                    <a:pt x="8877127" y="10072332"/>
                    <a:pt x="8859478" y="7395766"/>
                    <a:pt x="8859180" y="5705280"/>
                  </a:cubicBezTo>
                  <a:lnTo>
                    <a:pt x="10060307" y="5705280"/>
                  </a:lnTo>
                  <a:cubicBezTo>
                    <a:pt x="10130685" y="5705280"/>
                    <a:pt x="10194006" y="5672326"/>
                    <a:pt x="10236565" y="5618414"/>
                  </a:cubicBezTo>
                  <a:lnTo>
                    <a:pt x="10238078" y="5618414"/>
                  </a:lnTo>
                  <a:lnTo>
                    <a:pt x="10243096" y="5612972"/>
                  </a:lnTo>
                  <a:cubicBezTo>
                    <a:pt x="10282502" y="5570150"/>
                    <a:pt x="10303172" y="5514614"/>
                    <a:pt x="10303485" y="5458816"/>
                  </a:cubicBezTo>
                  <a:close/>
                </a:path>
              </a:pathLst>
            </a:custGeom>
            <a:grpFill/>
            <a:ln>
              <a:noFill/>
            </a:ln>
            <a:effectLst>
              <a:outerShdw blurRad="469900" dist="304800" dir="3600000" sx="89000" sy="89000" algn="ctr" rotWithShape="0">
                <a:srgbClr val="000000">
                  <a:alpha val="83000"/>
                </a:srgbClr>
              </a:outerShdw>
            </a:effectLst>
            <a:extLst/>
          </p:spPr>
          <p:txBody>
            <a:bodyPr lIns="0" tIns="0" rIns="0" bIns="0" rtlCol="0" anchor="ctr"/>
            <a:lstStyle/>
            <a:p>
              <a:pPr algn="ctr" defTabSz="1248295"/>
              <a:endParaRPr lang="es-SV" sz="4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endParaRPr>
            </a:p>
          </p:txBody>
        </p:sp>
        <p:sp>
          <p:nvSpPr>
            <p:cNvPr id="12" name="34 Rectángulo redondeado"/>
            <p:cNvSpPr/>
            <p:nvPr/>
          </p:nvSpPr>
          <p:spPr bwMode="auto">
            <a:xfrm>
              <a:off x="4274563" y="6072614"/>
              <a:ext cx="309361" cy="303855"/>
            </a:xfrm>
            <a:custGeom>
              <a:avLst/>
              <a:gdLst/>
              <a:ahLst/>
              <a:cxnLst/>
              <a:rect l="l" t="t" r="r" b="b"/>
              <a:pathLst>
                <a:path w="1699458" h="1682246">
                  <a:moveTo>
                    <a:pt x="1326352" y="0"/>
                  </a:moveTo>
                  <a:lnTo>
                    <a:pt x="1699458" y="0"/>
                  </a:lnTo>
                  <a:lnTo>
                    <a:pt x="17212" y="1682246"/>
                  </a:lnTo>
                  <a:cubicBezTo>
                    <a:pt x="5314" y="1616074"/>
                    <a:pt x="0" y="1548019"/>
                    <a:pt x="0" y="1478723"/>
                  </a:cubicBezTo>
                  <a:lnTo>
                    <a:pt x="0" y="1326353"/>
                  </a:lnTo>
                  <a:cubicBezTo>
                    <a:pt x="0" y="593828"/>
                    <a:pt x="593828" y="0"/>
                    <a:pt x="1326352" y="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0" tIns="0" rIns="0" bIns="0" rtlCol="0" anchor="ctr"/>
            <a:lstStyle/>
            <a:p>
              <a:pPr algn="ctr" defTabSz="1248295"/>
              <a:endParaRPr lang="es-SV" sz="11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3" name="48 Grupo"/>
          <p:cNvGrpSpPr/>
          <p:nvPr/>
        </p:nvGrpSpPr>
        <p:grpSpPr>
          <a:xfrm flipV="1">
            <a:off x="2728954" y="3171835"/>
            <a:ext cx="1095850" cy="614282"/>
            <a:chOff x="4215925" y="4571410"/>
            <a:chExt cx="3253101" cy="1823625"/>
          </a:xfrm>
          <a:solidFill>
            <a:schemeClr val="accent3"/>
          </a:solidFill>
        </p:grpSpPr>
        <p:sp>
          <p:nvSpPr>
            <p:cNvPr id="15" name="19 Rectángulo"/>
            <p:cNvSpPr>
              <a:spLocks noChangeAspect="1"/>
            </p:cNvSpPr>
            <p:nvPr/>
          </p:nvSpPr>
          <p:spPr bwMode="auto">
            <a:xfrm rot="5400000" flipH="1">
              <a:off x="4930663" y="3856672"/>
              <a:ext cx="1823625" cy="3253101"/>
            </a:xfrm>
            <a:custGeom>
              <a:avLst/>
              <a:gdLst/>
              <a:ahLst/>
              <a:cxnLst/>
              <a:rect l="l" t="t" r="r" b="b"/>
              <a:pathLst>
                <a:path w="10303488" h="18380035">
                  <a:moveTo>
                    <a:pt x="10303485" y="5458816"/>
                  </a:moveTo>
                  <a:cubicBezTo>
                    <a:pt x="10303590" y="5440216"/>
                    <a:pt x="10301433" y="5421588"/>
                    <a:pt x="10296954" y="5403392"/>
                  </a:cubicBezTo>
                  <a:cubicBezTo>
                    <a:pt x="10296750" y="5395536"/>
                    <a:pt x="10295347" y="5387946"/>
                    <a:pt x="10292916" y="5380670"/>
                  </a:cubicBezTo>
                  <a:cubicBezTo>
                    <a:pt x="10293049" y="5372140"/>
                    <a:pt x="10290430" y="5364550"/>
                    <a:pt x="10286345" y="5357594"/>
                  </a:cubicBezTo>
                  <a:cubicBezTo>
                    <a:pt x="10269833" y="5302616"/>
                    <a:pt x="10236204" y="5256238"/>
                    <a:pt x="10190219" y="5228930"/>
                  </a:cubicBezTo>
                  <a:lnTo>
                    <a:pt x="5463578" y="67688"/>
                  </a:lnTo>
                  <a:cubicBezTo>
                    <a:pt x="5422312" y="22644"/>
                    <a:pt x="5368196" y="70"/>
                    <a:pt x="5314056" y="0"/>
                  </a:cubicBezTo>
                  <a:cubicBezTo>
                    <a:pt x="5259909" y="-78"/>
                    <a:pt x="5205738" y="22354"/>
                    <a:pt x="5164378" y="67296"/>
                  </a:cubicBezTo>
                  <a:lnTo>
                    <a:pt x="398902" y="5245654"/>
                  </a:lnTo>
                  <a:cubicBezTo>
                    <a:pt x="367030" y="5270462"/>
                    <a:pt x="343366" y="5305634"/>
                    <a:pt x="328893" y="5345880"/>
                  </a:cubicBezTo>
                  <a:cubicBezTo>
                    <a:pt x="325835" y="5351142"/>
                    <a:pt x="323804" y="5356866"/>
                    <a:pt x="323906" y="5363366"/>
                  </a:cubicBezTo>
                  <a:cubicBezTo>
                    <a:pt x="317084" y="5382292"/>
                    <a:pt x="313368" y="5402584"/>
                    <a:pt x="313070" y="5423660"/>
                  </a:cubicBezTo>
                  <a:cubicBezTo>
                    <a:pt x="310749" y="5429384"/>
                    <a:pt x="310639" y="5435248"/>
                    <a:pt x="311455" y="5441098"/>
                  </a:cubicBezTo>
                  <a:cubicBezTo>
                    <a:pt x="311376" y="5441890"/>
                    <a:pt x="311306" y="5442682"/>
                    <a:pt x="311235" y="5443466"/>
                  </a:cubicBezTo>
                  <a:cubicBezTo>
                    <a:pt x="311235" y="5588064"/>
                    <a:pt x="418841" y="5705280"/>
                    <a:pt x="551591" y="5705280"/>
                  </a:cubicBezTo>
                  <a:lnTo>
                    <a:pt x="1755297" y="5705280"/>
                  </a:lnTo>
                  <a:cubicBezTo>
                    <a:pt x="1755297" y="5705798"/>
                    <a:pt x="1755297" y="5706308"/>
                    <a:pt x="1755289" y="5706826"/>
                  </a:cubicBezTo>
                  <a:lnTo>
                    <a:pt x="1822170" y="5706826"/>
                  </a:lnTo>
                  <a:lnTo>
                    <a:pt x="1822170" y="16299975"/>
                  </a:lnTo>
                  <a:lnTo>
                    <a:pt x="555650" y="17578534"/>
                  </a:lnTo>
                  <a:lnTo>
                    <a:pt x="53944" y="18080240"/>
                  </a:lnTo>
                  <a:lnTo>
                    <a:pt x="54219" y="18080276"/>
                  </a:lnTo>
                  <a:lnTo>
                    <a:pt x="0" y="18133506"/>
                  </a:lnTo>
                  <a:cubicBezTo>
                    <a:pt x="313297" y="18315142"/>
                    <a:pt x="1087673" y="18728722"/>
                    <a:pt x="2259397" y="17773322"/>
                  </a:cubicBezTo>
                  <a:cubicBezTo>
                    <a:pt x="3431121" y="16817914"/>
                    <a:pt x="8842997" y="11481136"/>
                    <a:pt x="8860058" y="10776732"/>
                  </a:cubicBezTo>
                  <a:cubicBezTo>
                    <a:pt x="8877127" y="10072332"/>
                    <a:pt x="8859478" y="7395766"/>
                    <a:pt x="8859180" y="5705280"/>
                  </a:cubicBezTo>
                  <a:lnTo>
                    <a:pt x="10060307" y="5705280"/>
                  </a:lnTo>
                  <a:cubicBezTo>
                    <a:pt x="10130685" y="5705280"/>
                    <a:pt x="10194006" y="5672326"/>
                    <a:pt x="10236565" y="5618414"/>
                  </a:cubicBezTo>
                  <a:lnTo>
                    <a:pt x="10238078" y="5618414"/>
                  </a:lnTo>
                  <a:lnTo>
                    <a:pt x="10243096" y="5612972"/>
                  </a:lnTo>
                  <a:cubicBezTo>
                    <a:pt x="10282502" y="5570150"/>
                    <a:pt x="10303172" y="5514614"/>
                    <a:pt x="10303485" y="5458816"/>
                  </a:cubicBezTo>
                  <a:close/>
                </a:path>
              </a:pathLst>
            </a:custGeom>
            <a:grpFill/>
            <a:ln>
              <a:noFill/>
            </a:ln>
            <a:effectLst>
              <a:outerShdw blurRad="469900" dist="304800" dir="7200000" sx="89000" sy="89000" algn="ctr" rotWithShape="0">
                <a:srgbClr val="000000">
                  <a:alpha val="83000"/>
                </a:srgbClr>
              </a:outerShdw>
            </a:effectLst>
            <a:extLst/>
          </p:spPr>
          <p:txBody>
            <a:bodyPr lIns="0" tIns="0" rIns="0" bIns="0" rtlCol="0" anchor="ctr"/>
            <a:lstStyle/>
            <a:p>
              <a:pPr algn="ctr" defTabSz="1248295"/>
              <a:endParaRPr lang="es-SV" sz="4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endParaRPr>
            </a:p>
          </p:txBody>
        </p:sp>
        <p:sp>
          <p:nvSpPr>
            <p:cNvPr id="16" name="34 Rectángulo redondeado"/>
            <p:cNvSpPr/>
            <p:nvPr/>
          </p:nvSpPr>
          <p:spPr bwMode="auto">
            <a:xfrm>
              <a:off x="4274563" y="6072614"/>
              <a:ext cx="309361" cy="303855"/>
            </a:xfrm>
            <a:custGeom>
              <a:avLst/>
              <a:gdLst/>
              <a:ahLst/>
              <a:cxnLst/>
              <a:rect l="l" t="t" r="r" b="b"/>
              <a:pathLst>
                <a:path w="1699458" h="1682246">
                  <a:moveTo>
                    <a:pt x="1326352" y="0"/>
                  </a:moveTo>
                  <a:lnTo>
                    <a:pt x="1699458" y="0"/>
                  </a:lnTo>
                  <a:lnTo>
                    <a:pt x="17212" y="1682246"/>
                  </a:lnTo>
                  <a:cubicBezTo>
                    <a:pt x="5314" y="1616074"/>
                    <a:pt x="0" y="1548019"/>
                    <a:pt x="0" y="1478723"/>
                  </a:cubicBezTo>
                  <a:lnTo>
                    <a:pt x="0" y="1326353"/>
                  </a:lnTo>
                  <a:cubicBezTo>
                    <a:pt x="0" y="593828"/>
                    <a:pt x="593828" y="0"/>
                    <a:pt x="1326352" y="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0" tIns="0" rIns="0" bIns="0" rtlCol="0" anchor="ctr"/>
            <a:lstStyle/>
            <a:p>
              <a:pPr algn="ctr" defTabSz="1248295"/>
              <a:endParaRPr lang="es-SV" sz="11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7" name="51 Grupo"/>
          <p:cNvGrpSpPr/>
          <p:nvPr/>
        </p:nvGrpSpPr>
        <p:grpSpPr>
          <a:xfrm flipH="1" flipV="1">
            <a:off x="5320656" y="3173509"/>
            <a:ext cx="1095850" cy="614282"/>
            <a:chOff x="4215925" y="4571410"/>
            <a:chExt cx="3253101" cy="1823625"/>
          </a:xfrm>
          <a:solidFill>
            <a:schemeClr val="accent4"/>
          </a:solidFill>
        </p:grpSpPr>
        <p:sp>
          <p:nvSpPr>
            <p:cNvPr id="18" name="19 Rectángulo"/>
            <p:cNvSpPr>
              <a:spLocks noChangeAspect="1"/>
            </p:cNvSpPr>
            <p:nvPr/>
          </p:nvSpPr>
          <p:spPr bwMode="auto">
            <a:xfrm rot="5400000" flipH="1">
              <a:off x="4930663" y="3856672"/>
              <a:ext cx="1823625" cy="3253101"/>
            </a:xfrm>
            <a:custGeom>
              <a:avLst/>
              <a:gdLst/>
              <a:ahLst/>
              <a:cxnLst/>
              <a:rect l="l" t="t" r="r" b="b"/>
              <a:pathLst>
                <a:path w="10303488" h="18380035">
                  <a:moveTo>
                    <a:pt x="10303485" y="5458816"/>
                  </a:moveTo>
                  <a:cubicBezTo>
                    <a:pt x="10303590" y="5440216"/>
                    <a:pt x="10301433" y="5421588"/>
                    <a:pt x="10296954" y="5403392"/>
                  </a:cubicBezTo>
                  <a:cubicBezTo>
                    <a:pt x="10296750" y="5395536"/>
                    <a:pt x="10295347" y="5387946"/>
                    <a:pt x="10292916" y="5380670"/>
                  </a:cubicBezTo>
                  <a:cubicBezTo>
                    <a:pt x="10293049" y="5372140"/>
                    <a:pt x="10290430" y="5364550"/>
                    <a:pt x="10286345" y="5357594"/>
                  </a:cubicBezTo>
                  <a:cubicBezTo>
                    <a:pt x="10269833" y="5302616"/>
                    <a:pt x="10236204" y="5256238"/>
                    <a:pt x="10190219" y="5228930"/>
                  </a:cubicBezTo>
                  <a:lnTo>
                    <a:pt x="5463578" y="67688"/>
                  </a:lnTo>
                  <a:cubicBezTo>
                    <a:pt x="5422312" y="22644"/>
                    <a:pt x="5368196" y="70"/>
                    <a:pt x="5314056" y="0"/>
                  </a:cubicBezTo>
                  <a:cubicBezTo>
                    <a:pt x="5259909" y="-78"/>
                    <a:pt x="5205738" y="22354"/>
                    <a:pt x="5164378" y="67296"/>
                  </a:cubicBezTo>
                  <a:lnTo>
                    <a:pt x="398902" y="5245654"/>
                  </a:lnTo>
                  <a:cubicBezTo>
                    <a:pt x="367030" y="5270462"/>
                    <a:pt x="343366" y="5305634"/>
                    <a:pt x="328893" y="5345880"/>
                  </a:cubicBezTo>
                  <a:cubicBezTo>
                    <a:pt x="325835" y="5351142"/>
                    <a:pt x="323804" y="5356866"/>
                    <a:pt x="323906" y="5363366"/>
                  </a:cubicBezTo>
                  <a:cubicBezTo>
                    <a:pt x="317084" y="5382292"/>
                    <a:pt x="313368" y="5402584"/>
                    <a:pt x="313070" y="5423660"/>
                  </a:cubicBezTo>
                  <a:cubicBezTo>
                    <a:pt x="310749" y="5429384"/>
                    <a:pt x="310639" y="5435248"/>
                    <a:pt x="311455" y="5441098"/>
                  </a:cubicBezTo>
                  <a:cubicBezTo>
                    <a:pt x="311376" y="5441890"/>
                    <a:pt x="311306" y="5442682"/>
                    <a:pt x="311235" y="5443466"/>
                  </a:cubicBezTo>
                  <a:cubicBezTo>
                    <a:pt x="311235" y="5588064"/>
                    <a:pt x="418841" y="5705280"/>
                    <a:pt x="551591" y="5705280"/>
                  </a:cubicBezTo>
                  <a:lnTo>
                    <a:pt x="1755297" y="5705280"/>
                  </a:lnTo>
                  <a:cubicBezTo>
                    <a:pt x="1755297" y="5705798"/>
                    <a:pt x="1755297" y="5706308"/>
                    <a:pt x="1755289" y="5706826"/>
                  </a:cubicBezTo>
                  <a:lnTo>
                    <a:pt x="1822170" y="5706826"/>
                  </a:lnTo>
                  <a:lnTo>
                    <a:pt x="1822170" y="16299975"/>
                  </a:lnTo>
                  <a:lnTo>
                    <a:pt x="555650" y="17578534"/>
                  </a:lnTo>
                  <a:lnTo>
                    <a:pt x="53944" y="18080240"/>
                  </a:lnTo>
                  <a:lnTo>
                    <a:pt x="54219" y="18080276"/>
                  </a:lnTo>
                  <a:lnTo>
                    <a:pt x="0" y="18133506"/>
                  </a:lnTo>
                  <a:cubicBezTo>
                    <a:pt x="313297" y="18315142"/>
                    <a:pt x="1087673" y="18728722"/>
                    <a:pt x="2259397" y="17773322"/>
                  </a:cubicBezTo>
                  <a:cubicBezTo>
                    <a:pt x="3431121" y="16817914"/>
                    <a:pt x="8842997" y="11481136"/>
                    <a:pt x="8860058" y="10776732"/>
                  </a:cubicBezTo>
                  <a:cubicBezTo>
                    <a:pt x="8877127" y="10072332"/>
                    <a:pt x="8859478" y="7395766"/>
                    <a:pt x="8859180" y="5705280"/>
                  </a:cubicBezTo>
                  <a:lnTo>
                    <a:pt x="10060307" y="5705280"/>
                  </a:lnTo>
                  <a:cubicBezTo>
                    <a:pt x="10130685" y="5705280"/>
                    <a:pt x="10194006" y="5672326"/>
                    <a:pt x="10236565" y="5618414"/>
                  </a:cubicBezTo>
                  <a:lnTo>
                    <a:pt x="10238078" y="5618414"/>
                  </a:lnTo>
                  <a:lnTo>
                    <a:pt x="10243096" y="5612972"/>
                  </a:lnTo>
                  <a:cubicBezTo>
                    <a:pt x="10282502" y="5570150"/>
                    <a:pt x="10303172" y="5514614"/>
                    <a:pt x="10303485" y="5458816"/>
                  </a:cubicBezTo>
                  <a:close/>
                </a:path>
              </a:pathLst>
            </a:custGeom>
            <a:grpFill/>
            <a:ln>
              <a:noFill/>
            </a:ln>
            <a:effectLst>
              <a:outerShdw blurRad="469900" dist="304800" dir="7200000" sx="89000" sy="89000" algn="ctr" rotWithShape="0">
                <a:srgbClr val="000000">
                  <a:alpha val="83000"/>
                </a:srgbClr>
              </a:outerShdw>
            </a:effectLst>
            <a:extLst/>
          </p:spPr>
          <p:txBody>
            <a:bodyPr lIns="0" tIns="0" rIns="0" bIns="0" rtlCol="0" anchor="ctr"/>
            <a:lstStyle/>
            <a:p>
              <a:pPr algn="ctr" defTabSz="1248295"/>
              <a:endParaRPr lang="es-SV" sz="4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endParaRPr>
            </a:p>
          </p:txBody>
        </p:sp>
        <p:sp>
          <p:nvSpPr>
            <p:cNvPr id="19" name="34 Rectángulo redondeado"/>
            <p:cNvSpPr/>
            <p:nvPr/>
          </p:nvSpPr>
          <p:spPr bwMode="auto">
            <a:xfrm>
              <a:off x="4274563" y="6072614"/>
              <a:ext cx="309361" cy="303855"/>
            </a:xfrm>
            <a:custGeom>
              <a:avLst/>
              <a:gdLst/>
              <a:ahLst/>
              <a:cxnLst/>
              <a:rect l="l" t="t" r="r" b="b"/>
              <a:pathLst>
                <a:path w="1699458" h="1682246">
                  <a:moveTo>
                    <a:pt x="1326352" y="0"/>
                  </a:moveTo>
                  <a:lnTo>
                    <a:pt x="1699458" y="0"/>
                  </a:lnTo>
                  <a:lnTo>
                    <a:pt x="17212" y="1682246"/>
                  </a:lnTo>
                  <a:cubicBezTo>
                    <a:pt x="5314" y="1616074"/>
                    <a:pt x="0" y="1548019"/>
                    <a:pt x="0" y="1478723"/>
                  </a:cubicBezTo>
                  <a:lnTo>
                    <a:pt x="0" y="1326353"/>
                  </a:lnTo>
                  <a:cubicBezTo>
                    <a:pt x="0" y="593828"/>
                    <a:pt x="593828" y="0"/>
                    <a:pt x="1326352" y="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0" tIns="0" rIns="0" bIns="0" rtlCol="0" anchor="ctr"/>
            <a:lstStyle/>
            <a:p>
              <a:pPr algn="ctr" defTabSz="1248295"/>
              <a:endParaRPr lang="es-SV" sz="11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0" name="Group 4"/>
          <p:cNvGrpSpPr>
            <a:grpSpLocks noChangeAspect="1"/>
          </p:cNvGrpSpPr>
          <p:nvPr/>
        </p:nvGrpSpPr>
        <p:grpSpPr bwMode="auto">
          <a:xfrm>
            <a:off x="4305808" y="2399389"/>
            <a:ext cx="530288" cy="482188"/>
            <a:chOff x="2733" y="-929"/>
            <a:chExt cx="364" cy="331"/>
          </a:xfrm>
          <a:solidFill>
            <a:schemeClr val="bg1"/>
          </a:solidFill>
        </p:grpSpPr>
        <p:sp>
          <p:nvSpPr>
            <p:cNvPr id="21" name="Freeform 6"/>
            <p:cNvSpPr>
              <a:spLocks/>
            </p:cNvSpPr>
            <p:nvPr/>
          </p:nvSpPr>
          <p:spPr bwMode="auto">
            <a:xfrm>
              <a:off x="2845" y="-887"/>
              <a:ext cx="74" cy="73"/>
            </a:xfrm>
            <a:custGeom>
              <a:avLst/>
              <a:gdLst>
                <a:gd name="T0" fmla="*/ 603 w 660"/>
                <a:gd name="T1" fmla="*/ 0 h 660"/>
                <a:gd name="T2" fmla="*/ 621 w 660"/>
                <a:gd name="T3" fmla="*/ 2 h 660"/>
                <a:gd name="T4" fmla="*/ 637 w 660"/>
                <a:gd name="T5" fmla="*/ 11 h 660"/>
                <a:gd name="T6" fmla="*/ 649 w 660"/>
                <a:gd name="T7" fmla="*/ 23 h 660"/>
                <a:gd name="T8" fmla="*/ 657 w 660"/>
                <a:gd name="T9" fmla="*/ 39 h 660"/>
                <a:gd name="T10" fmla="*/ 660 w 660"/>
                <a:gd name="T11" fmla="*/ 57 h 660"/>
                <a:gd name="T12" fmla="*/ 657 w 660"/>
                <a:gd name="T13" fmla="*/ 75 h 660"/>
                <a:gd name="T14" fmla="*/ 649 w 660"/>
                <a:gd name="T15" fmla="*/ 91 h 660"/>
                <a:gd name="T16" fmla="*/ 637 w 660"/>
                <a:gd name="T17" fmla="*/ 103 h 660"/>
                <a:gd name="T18" fmla="*/ 621 w 660"/>
                <a:gd name="T19" fmla="*/ 112 h 660"/>
                <a:gd name="T20" fmla="*/ 603 w 660"/>
                <a:gd name="T21" fmla="*/ 114 h 660"/>
                <a:gd name="T22" fmla="*/ 550 w 660"/>
                <a:gd name="T23" fmla="*/ 117 h 660"/>
                <a:gd name="T24" fmla="*/ 498 w 660"/>
                <a:gd name="T25" fmla="*/ 126 h 660"/>
                <a:gd name="T26" fmla="*/ 448 w 660"/>
                <a:gd name="T27" fmla="*/ 139 h 660"/>
                <a:gd name="T28" fmla="*/ 401 w 660"/>
                <a:gd name="T29" fmla="*/ 158 h 660"/>
                <a:gd name="T30" fmla="*/ 357 w 660"/>
                <a:gd name="T31" fmla="*/ 181 h 660"/>
                <a:gd name="T32" fmla="*/ 315 w 660"/>
                <a:gd name="T33" fmla="*/ 208 h 660"/>
                <a:gd name="T34" fmla="*/ 276 w 660"/>
                <a:gd name="T35" fmla="*/ 241 h 660"/>
                <a:gd name="T36" fmla="*/ 241 w 660"/>
                <a:gd name="T37" fmla="*/ 276 h 660"/>
                <a:gd name="T38" fmla="*/ 209 w 660"/>
                <a:gd name="T39" fmla="*/ 315 h 660"/>
                <a:gd name="T40" fmla="*/ 181 w 660"/>
                <a:gd name="T41" fmla="*/ 356 h 660"/>
                <a:gd name="T42" fmla="*/ 158 w 660"/>
                <a:gd name="T43" fmla="*/ 401 h 660"/>
                <a:gd name="T44" fmla="*/ 139 w 660"/>
                <a:gd name="T45" fmla="*/ 448 h 660"/>
                <a:gd name="T46" fmla="*/ 126 w 660"/>
                <a:gd name="T47" fmla="*/ 498 h 660"/>
                <a:gd name="T48" fmla="*/ 117 w 660"/>
                <a:gd name="T49" fmla="*/ 550 h 660"/>
                <a:gd name="T50" fmla="*/ 115 w 660"/>
                <a:gd name="T51" fmla="*/ 603 h 660"/>
                <a:gd name="T52" fmla="*/ 112 w 660"/>
                <a:gd name="T53" fmla="*/ 621 h 660"/>
                <a:gd name="T54" fmla="*/ 104 w 660"/>
                <a:gd name="T55" fmla="*/ 637 h 660"/>
                <a:gd name="T56" fmla="*/ 91 w 660"/>
                <a:gd name="T57" fmla="*/ 649 h 660"/>
                <a:gd name="T58" fmla="*/ 75 w 660"/>
                <a:gd name="T59" fmla="*/ 657 h 660"/>
                <a:gd name="T60" fmla="*/ 57 w 660"/>
                <a:gd name="T61" fmla="*/ 660 h 660"/>
                <a:gd name="T62" fmla="*/ 39 w 660"/>
                <a:gd name="T63" fmla="*/ 657 h 660"/>
                <a:gd name="T64" fmla="*/ 23 w 660"/>
                <a:gd name="T65" fmla="*/ 649 h 660"/>
                <a:gd name="T66" fmla="*/ 11 w 660"/>
                <a:gd name="T67" fmla="*/ 637 h 660"/>
                <a:gd name="T68" fmla="*/ 3 w 660"/>
                <a:gd name="T69" fmla="*/ 621 h 660"/>
                <a:gd name="T70" fmla="*/ 0 w 660"/>
                <a:gd name="T71" fmla="*/ 603 h 660"/>
                <a:gd name="T72" fmla="*/ 3 w 660"/>
                <a:gd name="T73" fmla="*/ 541 h 660"/>
                <a:gd name="T74" fmla="*/ 12 w 660"/>
                <a:gd name="T75" fmla="*/ 481 h 660"/>
                <a:gd name="T76" fmla="*/ 27 w 660"/>
                <a:gd name="T77" fmla="*/ 423 h 660"/>
                <a:gd name="T78" fmla="*/ 47 w 660"/>
                <a:gd name="T79" fmla="*/ 368 h 660"/>
                <a:gd name="T80" fmla="*/ 72 w 660"/>
                <a:gd name="T81" fmla="*/ 315 h 660"/>
                <a:gd name="T82" fmla="*/ 103 w 660"/>
                <a:gd name="T83" fmla="*/ 266 h 660"/>
                <a:gd name="T84" fmla="*/ 137 w 660"/>
                <a:gd name="T85" fmla="*/ 219 h 660"/>
                <a:gd name="T86" fmla="*/ 176 w 660"/>
                <a:gd name="T87" fmla="*/ 176 h 660"/>
                <a:gd name="T88" fmla="*/ 219 w 660"/>
                <a:gd name="T89" fmla="*/ 137 h 660"/>
                <a:gd name="T90" fmla="*/ 266 w 660"/>
                <a:gd name="T91" fmla="*/ 102 h 660"/>
                <a:gd name="T92" fmla="*/ 316 w 660"/>
                <a:gd name="T93" fmla="*/ 72 h 660"/>
                <a:gd name="T94" fmla="*/ 368 w 660"/>
                <a:gd name="T95" fmla="*/ 47 h 660"/>
                <a:gd name="T96" fmla="*/ 423 w 660"/>
                <a:gd name="T97" fmla="*/ 27 h 660"/>
                <a:gd name="T98" fmla="*/ 481 w 660"/>
                <a:gd name="T99" fmla="*/ 12 h 660"/>
                <a:gd name="T100" fmla="*/ 541 w 660"/>
                <a:gd name="T101" fmla="*/ 3 h 660"/>
                <a:gd name="T102" fmla="*/ 603 w 660"/>
                <a:gd name="T103" fmla="*/ 0 h 6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60" h="660">
                  <a:moveTo>
                    <a:pt x="603" y="0"/>
                  </a:moveTo>
                  <a:lnTo>
                    <a:pt x="621" y="2"/>
                  </a:lnTo>
                  <a:lnTo>
                    <a:pt x="637" y="11"/>
                  </a:lnTo>
                  <a:lnTo>
                    <a:pt x="649" y="23"/>
                  </a:lnTo>
                  <a:lnTo>
                    <a:pt x="657" y="39"/>
                  </a:lnTo>
                  <a:lnTo>
                    <a:pt x="660" y="57"/>
                  </a:lnTo>
                  <a:lnTo>
                    <a:pt x="657" y="75"/>
                  </a:lnTo>
                  <a:lnTo>
                    <a:pt x="649" y="91"/>
                  </a:lnTo>
                  <a:lnTo>
                    <a:pt x="637" y="103"/>
                  </a:lnTo>
                  <a:lnTo>
                    <a:pt x="621" y="112"/>
                  </a:lnTo>
                  <a:lnTo>
                    <a:pt x="603" y="114"/>
                  </a:lnTo>
                  <a:lnTo>
                    <a:pt x="550" y="117"/>
                  </a:lnTo>
                  <a:lnTo>
                    <a:pt x="498" y="126"/>
                  </a:lnTo>
                  <a:lnTo>
                    <a:pt x="448" y="139"/>
                  </a:lnTo>
                  <a:lnTo>
                    <a:pt x="401" y="158"/>
                  </a:lnTo>
                  <a:lnTo>
                    <a:pt x="357" y="181"/>
                  </a:lnTo>
                  <a:lnTo>
                    <a:pt x="315" y="208"/>
                  </a:lnTo>
                  <a:lnTo>
                    <a:pt x="276" y="241"/>
                  </a:lnTo>
                  <a:lnTo>
                    <a:pt x="241" y="276"/>
                  </a:lnTo>
                  <a:lnTo>
                    <a:pt x="209" y="315"/>
                  </a:lnTo>
                  <a:lnTo>
                    <a:pt x="181" y="356"/>
                  </a:lnTo>
                  <a:lnTo>
                    <a:pt x="158" y="401"/>
                  </a:lnTo>
                  <a:lnTo>
                    <a:pt x="139" y="448"/>
                  </a:lnTo>
                  <a:lnTo>
                    <a:pt x="126" y="498"/>
                  </a:lnTo>
                  <a:lnTo>
                    <a:pt x="117" y="550"/>
                  </a:lnTo>
                  <a:lnTo>
                    <a:pt x="115" y="603"/>
                  </a:lnTo>
                  <a:lnTo>
                    <a:pt x="112" y="621"/>
                  </a:lnTo>
                  <a:lnTo>
                    <a:pt x="104" y="637"/>
                  </a:lnTo>
                  <a:lnTo>
                    <a:pt x="91" y="649"/>
                  </a:lnTo>
                  <a:lnTo>
                    <a:pt x="75" y="657"/>
                  </a:lnTo>
                  <a:lnTo>
                    <a:pt x="57" y="660"/>
                  </a:lnTo>
                  <a:lnTo>
                    <a:pt x="39" y="657"/>
                  </a:lnTo>
                  <a:lnTo>
                    <a:pt x="23" y="649"/>
                  </a:lnTo>
                  <a:lnTo>
                    <a:pt x="11" y="637"/>
                  </a:lnTo>
                  <a:lnTo>
                    <a:pt x="3" y="621"/>
                  </a:lnTo>
                  <a:lnTo>
                    <a:pt x="0" y="603"/>
                  </a:lnTo>
                  <a:lnTo>
                    <a:pt x="3" y="541"/>
                  </a:lnTo>
                  <a:lnTo>
                    <a:pt x="12" y="481"/>
                  </a:lnTo>
                  <a:lnTo>
                    <a:pt x="27" y="423"/>
                  </a:lnTo>
                  <a:lnTo>
                    <a:pt x="47" y="368"/>
                  </a:lnTo>
                  <a:lnTo>
                    <a:pt x="72" y="315"/>
                  </a:lnTo>
                  <a:lnTo>
                    <a:pt x="103" y="266"/>
                  </a:lnTo>
                  <a:lnTo>
                    <a:pt x="137" y="219"/>
                  </a:lnTo>
                  <a:lnTo>
                    <a:pt x="176" y="176"/>
                  </a:lnTo>
                  <a:lnTo>
                    <a:pt x="219" y="137"/>
                  </a:lnTo>
                  <a:lnTo>
                    <a:pt x="266" y="102"/>
                  </a:lnTo>
                  <a:lnTo>
                    <a:pt x="316" y="72"/>
                  </a:lnTo>
                  <a:lnTo>
                    <a:pt x="368" y="47"/>
                  </a:lnTo>
                  <a:lnTo>
                    <a:pt x="423" y="27"/>
                  </a:lnTo>
                  <a:lnTo>
                    <a:pt x="481" y="12"/>
                  </a:lnTo>
                  <a:lnTo>
                    <a:pt x="541" y="3"/>
                  </a:lnTo>
                  <a:lnTo>
                    <a:pt x="60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8580" tIns="64292" rIns="128580" bIns="64292" numCol="1" anchor="t" anchorCtr="0" compatLnSpc="1">
              <a:prstTxWarp prst="textNoShape">
                <a:avLst/>
              </a:prstTxWarp>
            </a:bodyPr>
            <a:lstStyle/>
            <a:p>
              <a:pPr defTabSz="1248295"/>
              <a:endParaRPr lang="es-SV" sz="11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22" name="Freeform 7"/>
            <p:cNvSpPr>
              <a:spLocks/>
            </p:cNvSpPr>
            <p:nvPr/>
          </p:nvSpPr>
          <p:spPr bwMode="auto">
            <a:xfrm>
              <a:off x="2818" y="-918"/>
              <a:ext cx="196" cy="224"/>
            </a:xfrm>
            <a:custGeom>
              <a:avLst/>
              <a:gdLst>
                <a:gd name="T0" fmla="*/ 1094 w 1765"/>
                <a:gd name="T1" fmla="*/ 26 h 2024"/>
                <a:gd name="T2" fmla="*/ 1347 w 1765"/>
                <a:gd name="T3" fmla="*/ 132 h 2024"/>
                <a:gd name="T4" fmla="*/ 1552 w 1765"/>
                <a:gd name="T5" fmla="*/ 308 h 2024"/>
                <a:gd name="T6" fmla="*/ 1696 w 1765"/>
                <a:gd name="T7" fmla="*/ 540 h 2024"/>
                <a:gd name="T8" fmla="*/ 1762 w 1765"/>
                <a:gd name="T9" fmla="*/ 811 h 2024"/>
                <a:gd name="T10" fmla="*/ 1744 w 1765"/>
                <a:gd name="T11" fmla="*/ 1075 h 2024"/>
                <a:gd name="T12" fmla="*/ 1654 w 1765"/>
                <a:gd name="T13" fmla="*/ 1313 h 2024"/>
                <a:gd name="T14" fmla="*/ 1515 w 1765"/>
                <a:gd name="T15" fmla="*/ 1520 h 2024"/>
                <a:gd name="T16" fmla="*/ 1430 w 1765"/>
                <a:gd name="T17" fmla="*/ 1688 h 2024"/>
                <a:gd name="T18" fmla="*/ 1393 w 1765"/>
                <a:gd name="T19" fmla="*/ 1813 h 2024"/>
                <a:gd name="T20" fmla="*/ 1387 w 1765"/>
                <a:gd name="T21" fmla="*/ 1896 h 2024"/>
                <a:gd name="T22" fmla="*/ 1393 w 1765"/>
                <a:gd name="T23" fmla="*/ 1938 h 2024"/>
                <a:gd name="T24" fmla="*/ 1399 w 1765"/>
                <a:gd name="T25" fmla="*/ 1973 h 2024"/>
                <a:gd name="T26" fmla="*/ 1366 w 1765"/>
                <a:gd name="T27" fmla="*/ 2018 h 2024"/>
                <a:gd name="T28" fmla="*/ 1310 w 1765"/>
                <a:gd name="T29" fmla="*/ 2014 h 2024"/>
                <a:gd name="T30" fmla="*/ 1285 w 1765"/>
                <a:gd name="T31" fmla="*/ 1980 h 2024"/>
                <a:gd name="T32" fmla="*/ 1273 w 1765"/>
                <a:gd name="T33" fmla="*/ 1926 h 2024"/>
                <a:gd name="T34" fmla="*/ 1273 w 1765"/>
                <a:gd name="T35" fmla="*/ 1832 h 2024"/>
                <a:gd name="T36" fmla="*/ 1305 w 1765"/>
                <a:gd name="T37" fmla="*/ 1694 h 2024"/>
                <a:gd name="T38" fmla="*/ 1385 w 1765"/>
                <a:gd name="T39" fmla="*/ 1514 h 2024"/>
                <a:gd name="T40" fmla="*/ 1527 w 1765"/>
                <a:gd name="T41" fmla="*/ 1300 h 2024"/>
                <a:gd name="T42" fmla="*/ 1627 w 1765"/>
                <a:gd name="T43" fmla="*/ 1070 h 2024"/>
                <a:gd name="T44" fmla="*/ 1647 w 1765"/>
                <a:gd name="T45" fmla="*/ 813 h 2024"/>
                <a:gd name="T46" fmla="*/ 1575 w 1765"/>
                <a:gd name="T47" fmla="*/ 554 h 2024"/>
                <a:gd name="T48" fmla="*/ 1425 w 1765"/>
                <a:gd name="T49" fmla="*/ 340 h 2024"/>
                <a:gd name="T50" fmla="*/ 1211 w 1765"/>
                <a:gd name="T51" fmla="*/ 188 h 2024"/>
                <a:gd name="T52" fmla="*/ 952 w 1765"/>
                <a:gd name="T53" fmla="*/ 118 h 2024"/>
                <a:gd name="T54" fmla="*/ 678 w 1765"/>
                <a:gd name="T55" fmla="*/ 142 h 2024"/>
                <a:gd name="T56" fmla="*/ 440 w 1765"/>
                <a:gd name="T57" fmla="*/ 256 h 2024"/>
                <a:gd name="T58" fmla="*/ 256 w 1765"/>
                <a:gd name="T59" fmla="*/ 440 h 2024"/>
                <a:gd name="T60" fmla="*/ 142 w 1765"/>
                <a:gd name="T61" fmla="*/ 679 h 2024"/>
                <a:gd name="T62" fmla="*/ 117 w 1765"/>
                <a:gd name="T63" fmla="*/ 946 h 2024"/>
                <a:gd name="T64" fmla="*/ 177 w 1765"/>
                <a:gd name="T65" fmla="*/ 1187 h 2024"/>
                <a:gd name="T66" fmla="*/ 277 w 1765"/>
                <a:gd name="T67" fmla="*/ 1354 h 2024"/>
                <a:gd name="T68" fmla="*/ 407 w 1765"/>
                <a:gd name="T69" fmla="*/ 1566 h 2024"/>
                <a:gd name="T70" fmla="*/ 476 w 1765"/>
                <a:gd name="T71" fmla="*/ 1734 h 2024"/>
                <a:gd name="T72" fmla="*/ 498 w 1765"/>
                <a:gd name="T73" fmla="*/ 1860 h 2024"/>
                <a:gd name="T74" fmla="*/ 494 w 1765"/>
                <a:gd name="T75" fmla="*/ 1944 h 2024"/>
                <a:gd name="T76" fmla="*/ 482 w 1765"/>
                <a:gd name="T77" fmla="*/ 1986 h 2024"/>
                <a:gd name="T78" fmla="*/ 443 w 1765"/>
                <a:gd name="T79" fmla="*/ 2022 h 2024"/>
                <a:gd name="T80" fmla="*/ 390 w 1765"/>
                <a:gd name="T81" fmla="*/ 2010 h 2024"/>
                <a:gd name="T82" fmla="*/ 371 w 1765"/>
                <a:gd name="T83" fmla="*/ 1957 h 2024"/>
                <a:gd name="T84" fmla="*/ 378 w 1765"/>
                <a:gd name="T85" fmla="*/ 1931 h 2024"/>
                <a:gd name="T86" fmla="*/ 382 w 1765"/>
                <a:gd name="T87" fmla="*/ 1880 h 2024"/>
                <a:gd name="T88" fmla="*/ 370 w 1765"/>
                <a:gd name="T89" fmla="*/ 1788 h 2024"/>
                <a:gd name="T90" fmla="*/ 322 w 1765"/>
                <a:gd name="T91" fmla="*/ 1654 h 2024"/>
                <a:gd name="T92" fmla="*/ 222 w 1765"/>
                <a:gd name="T93" fmla="*/ 1476 h 2024"/>
                <a:gd name="T94" fmla="*/ 112 w 1765"/>
                <a:gd name="T95" fmla="*/ 1315 h 2024"/>
                <a:gd name="T96" fmla="*/ 21 w 1765"/>
                <a:gd name="T97" fmla="*/ 1076 h 2024"/>
                <a:gd name="T98" fmla="*/ 3 w 1765"/>
                <a:gd name="T99" fmla="*/ 811 h 2024"/>
                <a:gd name="T100" fmla="*/ 69 w 1765"/>
                <a:gd name="T101" fmla="*/ 540 h 2024"/>
                <a:gd name="T102" fmla="*/ 213 w 1765"/>
                <a:gd name="T103" fmla="*/ 308 h 2024"/>
                <a:gd name="T104" fmla="*/ 417 w 1765"/>
                <a:gd name="T105" fmla="*/ 132 h 2024"/>
                <a:gd name="T106" fmla="*/ 670 w 1765"/>
                <a:gd name="T107" fmla="*/ 26 h 2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765" h="2024">
                  <a:moveTo>
                    <a:pt x="882" y="0"/>
                  </a:moveTo>
                  <a:lnTo>
                    <a:pt x="954" y="3"/>
                  </a:lnTo>
                  <a:lnTo>
                    <a:pt x="1025" y="12"/>
                  </a:lnTo>
                  <a:lnTo>
                    <a:pt x="1094" y="26"/>
                  </a:lnTo>
                  <a:lnTo>
                    <a:pt x="1161" y="45"/>
                  </a:lnTo>
                  <a:lnTo>
                    <a:pt x="1225" y="69"/>
                  </a:lnTo>
                  <a:lnTo>
                    <a:pt x="1287" y="98"/>
                  </a:lnTo>
                  <a:lnTo>
                    <a:pt x="1347" y="132"/>
                  </a:lnTo>
                  <a:lnTo>
                    <a:pt x="1403" y="170"/>
                  </a:lnTo>
                  <a:lnTo>
                    <a:pt x="1456" y="212"/>
                  </a:lnTo>
                  <a:lnTo>
                    <a:pt x="1506" y="259"/>
                  </a:lnTo>
                  <a:lnTo>
                    <a:pt x="1552" y="308"/>
                  </a:lnTo>
                  <a:lnTo>
                    <a:pt x="1595" y="361"/>
                  </a:lnTo>
                  <a:lnTo>
                    <a:pt x="1633" y="418"/>
                  </a:lnTo>
                  <a:lnTo>
                    <a:pt x="1666" y="477"/>
                  </a:lnTo>
                  <a:lnTo>
                    <a:pt x="1696" y="540"/>
                  </a:lnTo>
                  <a:lnTo>
                    <a:pt x="1720" y="604"/>
                  </a:lnTo>
                  <a:lnTo>
                    <a:pt x="1739" y="671"/>
                  </a:lnTo>
                  <a:lnTo>
                    <a:pt x="1753" y="739"/>
                  </a:lnTo>
                  <a:lnTo>
                    <a:pt x="1762" y="811"/>
                  </a:lnTo>
                  <a:lnTo>
                    <a:pt x="1765" y="883"/>
                  </a:lnTo>
                  <a:lnTo>
                    <a:pt x="1762" y="947"/>
                  </a:lnTo>
                  <a:lnTo>
                    <a:pt x="1756" y="1011"/>
                  </a:lnTo>
                  <a:lnTo>
                    <a:pt x="1744" y="1075"/>
                  </a:lnTo>
                  <a:lnTo>
                    <a:pt x="1728" y="1137"/>
                  </a:lnTo>
                  <a:lnTo>
                    <a:pt x="1708" y="1197"/>
                  </a:lnTo>
                  <a:lnTo>
                    <a:pt x="1683" y="1255"/>
                  </a:lnTo>
                  <a:lnTo>
                    <a:pt x="1654" y="1313"/>
                  </a:lnTo>
                  <a:lnTo>
                    <a:pt x="1621" y="1368"/>
                  </a:lnTo>
                  <a:lnTo>
                    <a:pt x="1583" y="1420"/>
                  </a:lnTo>
                  <a:lnTo>
                    <a:pt x="1546" y="1471"/>
                  </a:lnTo>
                  <a:lnTo>
                    <a:pt x="1515" y="1520"/>
                  </a:lnTo>
                  <a:lnTo>
                    <a:pt x="1488" y="1567"/>
                  </a:lnTo>
                  <a:lnTo>
                    <a:pt x="1465" y="1610"/>
                  </a:lnTo>
                  <a:lnTo>
                    <a:pt x="1446" y="1650"/>
                  </a:lnTo>
                  <a:lnTo>
                    <a:pt x="1430" y="1688"/>
                  </a:lnTo>
                  <a:lnTo>
                    <a:pt x="1417" y="1723"/>
                  </a:lnTo>
                  <a:lnTo>
                    <a:pt x="1407" y="1755"/>
                  </a:lnTo>
                  <a:lnTo>
                    <a:pt x="1399" y="1785"/>
                  </a:lnTo>
                  <a:lnTo>
                    <a:pt x="1393" y="1813"/>
                  </a:lnTo>
                  <a:lnTo>
                    <a:pt x="1390" y="1838"/>
                  </a:lnTo>
                  <a:lnTo>
                    <a:pt x="1388" y="1860"/>
                  </a:lnTo>
                  <a:lnTo>
                    <a:pt x="1387" y="1879"/>
                  </a:lnTo>
                  <a:lnTo>
                    <a:pt x="1387" y="1896"/>
                  </a:lnTo>
                  <a:lnTo>
                    <a:pt x="1388" y="1910"/>
                  </a:lnTo>
                  <a:lnTo>
                    <a:pt x="1390" y="1922"/>
                  </a:lnTo>
                  <a:lnTo>
                    <a:pt x="1392" y="1931"/>
                  </a:lnTo>
                  <a:lnTo>
                    <a:pt x="1393" y="1938"/>
                  </a:lnTo>
                  <a:lnTo>
                    <a:pt x="1394" y="1942"/>
                  </a:lnTo>
                  <a:lnTo>
                    <a:pt x="1395" y="1943"/>
                  </a:lnTo>
                  <a:lnTo>
                    <a:pt x="1399" y="1958"/>
                  </a:lnTo>
                  <a:lnTo>
                    <a:pt x="1399" y="1973"/>
                  </a:lnTo>
                  <a:lnTo>
                    <a:pt x="1396" y="1987"/>
                  </a:lnTo>
                  <a:lnTo>
                    <a:pt x="1389" y="2000"/>
                  </a:lnTo>
                  <a:lnTo>
                    <a:pt x="1379" y="2010"/>
                  </a:lnTo>
                  <a:lnTo>
                    <a:pt x="1366" y="2018"/>
                  </a:lnTo>
                  <a:lnTo>
                    <a:pt x="1351" y="2023"/>
                  </a:lnTo>
                  <a:lnTo>
                    <a:pt x="1337" y="2023"/>
                  </a:lnTo>
                  <a:lnTo>
                    <a:pt x="1323" y="2020"/>
                  </a:lnTo>
                  <a:lnTo>
                    <a:pt x="1310" y="2014"/>
                  </a:lnTo>
                  <a:lnTo>
                    <a:pt x="1298" y="2004"/>
                  </a:lnTo>
                  <a:lnTo>
                    <a:pt x="1290" y="1991"/>
                  </a:lnTo>
                  <a:lnTo>
                    <a:pt x="1288" y="1987"/>
                  </a:lnTo>
                  <a:lnTo>
                    <a:pt x="1285" y="1980"/>
                  </a:lnTo>
                  <a:lnTo>
                    <a:pt x="1282" y="1970"/>
                  </a:lnTo>
                  <a:lnTo>
                    <a:pt x="1279" y="1958"/>
                  </a:lnTo>
                  <a:lnTo>
                    <a:pt x="1276" y="1944"/>
                  </a:lnTo>
                  <a:lnTo>
                    <a:pt x="1273" y="1926"/>
                  </a:lnTo>
                  <a:lnTo>
                    <a:pt x="1271" y="1907"/>
                  </a:lnTo>
                  <a:lnTo>
                    <a:pt x="1270" y="1884"/>
                  </a:lnTo>
                  <a:lnTo>
                    <a:pt x="1271" y="1859"/>
                  </a:lnTo>
                  <a:lnTo>
                    <a:pt x="1273" y="1832"/>
                  </a:lnTo>
                  <a:lnTo>
                    <a:pt x="1277" y="1801"/>
                  </a:lnTo>
                  <a:lnTo>
                    <a:pt x="1283" y="1768"/>
                  </a:lnTo>
                  <a:lnTo>
                    <a:pt x="1292" y="1732"/>
                  </a:lnTo>
                  <a:lnTo>
                    <a:pt x="1305" y="1694"/>
                  </a:lnTo>
                  <a:lnTo>
                    <a:pt x="1320" y="1653"/>
                  </a:lnTo>
                  <a:lnTo>
                    <a:pt x="1338" y="1610"/>
                  </a:lnTo>
                  <a:lnTo>
                    <a:pt x="1360" y="1564"/>
                  </a:lnTo>
                  <a:lnTo>
                    <a:pt x="1385" y="1514"/>
                  </a:lnTo>
                  <a:lnTo>
                    <a:pt x="1416" y="1463"/>
                  </a:lnTo>
                  <a:lnTo>
                    <a:pt x="1450" y="1408"/>
                  </a:lnTo>
                  <a:lnTo>
                    <a:pt x="1490" y="1352"/>
                  </a:lnTo>
                  <a:lnTo>
                    <a:pt x="1527" y="1300"/>
                  </a:lnTo>
                  <a:lnTo>
                    <a:pt x="1559" y="1244"/>
                  </a:lnTo>
                  <a:lnTo>
                    <a:pt x="1587" y="1188"/>
                  </a:lnTo>
                  <a:lnTo>
                    <a:pt x="1610" y="1130"/>
                  </a:lnTo>
                  <a:lnTo>
                    <a:pt x="1627" y="1070"/>
                  </a:lnTo>
                  <a:lnTo>
                    <a:pt x="1640" y="1008"/>
                  </a:lnTo>
                  <a:lnTo>
                    <a:pt x="1648" y="946"/>
                  </a:lnTo>
                  <a:lnTo>
                    <a:pt x="1650" y="883"/>
                  </a:lnTo>
                  <a:lnTo>
                    <a:pt x="1647" y="813"/>
                  </a:lnTo>
                  <a:lnTo>
                    <a:pt x="1638" y="744"/>
                  </a:lnTo>
                  <a:lnTo>
                    <a:pt x="1623" y="679"/>
                  </a:lnTo>
                  <a:lnTo>
                    <a:pt x="1602" y="615"/>
                  </a:lnTo>
                  <a:lnTo>
                    <a:pt x="1575" y="554"/>
                  </a:lnTo>
                  <a:lnTo>
                    <a:pt x="1545" y="495"/>
                  </a:lnTo>
                  <a:lnTo>
                    <a:pt x="1509" y="440"/>
                  </a:lnTo>
                  <a:lnTo>
                    <a:pt x="1469" y="388"/>
                  </a:lnTo>
                  <a:lnTo>
                    <a:pt x="1425" y="340"/>
                  </a:lnTo>
                  <a:lnTo>
                    <a:pt x="1377" y="296"/>
                  </a:lnTo>
                  <a:lnTo>
                    <a:pt x="1325" y="256"/>
                  </a:lnTo>
                  <a:lnTo>
                    <a:pt x="1269" y="219"/>
                  </a:lnTo>
                  <a:lnTo>
                    <a:pt x="1211" y="188"/>
                  </a:lnTo>
                  <a:lnTo>
                    <a:pt x="1150" y="163"/>
                  </a:lnTo>
                  <a:lnTo>
                    <a:pt x="1086" y="142"/>
                  </a:lnTo>
                  <a:lnTo>
                    <a:pt x="1020" y="127"/>
                  </a:lnTo>
                  <a:lnTo>
                    <a:pt x="952" y="118"/>
                  </a:lnTo>
                  <a:lnTo>
                    <a:pt x="882" y="115"/>
                  </a:lnTo>
                  <a:lnTo>
                    <a:pt x="813" y="118"/>
                  </a:lnTo>
                  <a:lnTo>
                    <a:pt x="744" y="127"/>
                  </a:lnTo>
                  <a:lnTo>
                    <a:pt x="678" y="142"/>
                  </a:lnTo>
                  <a:lnTo>
                    <a:pt x="615" y="163"/>
                  </a:lnTo>
                  <a:lnTo>
                    <a:pt x="554" y="188"/>
                  </a:lnTo>
                  <a:lnTo>
                    <a:pt x="496" y="219"/>
                  </a:lnTo>
                  <a:lnTo>
                    <a:pt x="440" y="256"/>
                  </a:lnTo>
                  <a:lnTo>
                    <a:pt x="388" y="296"/>
                  </a:lnTo>
                  <a:lnTo>
                    <a:pt x="340" y="340"/>
                  </a:lnTo>
                  <a:lnTo>
                    <a:pt x="296" y="388"/>
                  </a:lnTo>
                  <a:lnTo>
                    <a:pt x="256" y="440"/>
                  </a:lnTo>
                  <a:lnTo>
                    <a:pt x="220" y="495"/>
                  </a:lnTo>
                  <a:lnTo>
                    <a:pt x="188" y="554"/>
                  </a:lnTo>
                  <a:lnTo>
                    <a:pt x="163" y="615"/>
                  </a:lnTo>
                  <a:lnTo>
                    <a:pt x="142" y="679"/>
                  </a:lnTo>
                  <a:lnTo>
                    <a:pt x="127" y="744"/>
                  </a:lnTo>
                  <a:lnTo>
                    <a:pt x="118" y="813"/>
                  </a:lnTo>
                  <a:lnTo>
                    <a:pt x="115" y="883"/>
                  </a:lnTo>
                  <a:lnTo>
                    <a:pt x="117" y="946"/>
                  </a:lnTo>
                  <a:lnTo>
                    <a:pt x="125" y="1008"/>
                  </a:lnTo>
                  <a:lnTo>
                    <a:pt x="137" y="1070"/>
                  </a:lnTo>
                  <a:lnTo>
                    <a:pt x="155" y="1129"/>
                  </a:lnTo>
                  <a:lnTo>
                    <a:pt x="177" y="1187"/>
                  </a:lnTo>
                  <a:lnTo>
                    <a:pt x="205" y="1243"/>
                  </a:lnTo>
                  <a:lnTo>
                    <a:pt x="236" y="1297"/>
                  </a:lnTo>
                  <a:lnTo>
                    <a:pt x="273" y="1349"/>
                  </a:lnTo>
                  <a:lnTo>
                    <a:pt x="277" y="1354"/>
                  </a:lnTo>
                  <a:lnTo>
                    <a:pt x="316" y="1411"/>
                  </a:lnTo>
                  <a:lnTo>
                    <a:pt x="351" y="1465"/>
                  </a:lnTo>
                  <a:lnTo>
                    <a:pt x="381" y="1516"/>
                  </a:lnTo>
                  <a:lnTo>
                    <a:pt x="407" y="1566"/>
                  </a:lnTo>
                  <a:lnTo>
                    <a:pt x="429" y="1612"/>
                  </a:lnTo>
                  <a:lnTo>
                    <a:pt x="448" y="1655"/>
                  </a:lnTo>
                  <a:lnTo>
                    <a:pt x="463" y="1696"/>
                  </a:lnTo>
                  <a:lnTo>
                    <a:pt x="476" y="1734"/>
                  </a:lnTo>
                  <a:lnTo>
                    <a:pt x="485" y="1769"/>
                  </a:lnTo>
                  <a:lnTo>
                    <a:pt x="491" y="1803"/>
                  </a:lnTo>
                  <a:lnTo>
                    <a:pt x="496" y="1833"/>
                  </a:lnTo>
                  <a:lnTo>
                    <a:pt x="498" y="1860"/>
                  </a:lnTo>
                  <a:lnTo>
                    <a:pt x="499" y="1885"/>
                  </a:lnTo>
                  <a:lnTo>
                    <a:pt x="498" y="1907"/>
                  </a:lnTo>
                  <a:lnTo>
                    <a:pt x="496" y="1927"/>
                  </a:lnTo>
                  <a:lnTo>
                    <a:pt x="494" y="1944"/>
                  </a:lnTo>
                  <a:lnTo>
                    <a:pt x="491" y="1958"/>
                  </a:lnTo>
                  <a:lnTo>
                    <a:pt x="488" y="1970"/>
                  </a:lnTo>
                  <a:lnTo>
                    <a:pt x="485" y="1980"/>
                  </a:lnTo>
                  <a:lnTo>
                    <a:pt x="482" y="1986"/>
                  </a:lnTo>
                  <a:lnTo>
                    <a:pt x="480" y="1991"/>
                  </a:lnTo>
                  <a:lnTo>
                    <a:pt x="470" y="2005"/>
                  </a:lnTo>
                  <a:lnTo>
                    <a:pt x="458" y="2015"/>
                  </a:lnTo>
                  <a:lnTo>
                    <a:pt x="443" y="2022"/>
                  </a:lnTo>
                  <a:lnTo>
                    <a:pt x="427" y="2024"/>
                  </a:lnTo>
                  <a:lnTo>
                    <a:pt x="415" y="2023"/>
                  </a:lnTo>
                  <a:lnTo>
                    <a:pt x="403" y="2018"/>
                  </a:lnTo>
                  <a:lnTo>
                    <a:pt x="390" y="2010"/>
                  </a:lnTo>
                  <a:lnTo>
                    <a:pt x="380" y="1999"/>
                  </a:lnTo>
                  <a:lnTo>
                    <a:pt x="373" y="1986"/>
                  </a:lnTo>
                  <a:lnTo>
                    <a:pt x="370" y="1972"/>
                  </a:lnTo>
                  <a:lnTo>
                    <a:pt x="371" y="1957"/>
                  </a:lnTo>
                  <a:lnTo>
                    <a:pt x="375" y="1942"/>
                  </a:lnTo>
                  <a:lnTo>
                    <a:pt x="376" y="1941"/>
                  </a:lnTo>
                  <a:lnTo>
                    <a:pt x="377" y="1937"/>
                  </a:lnTo>
                  <a:lnTo>
                    <a:pt x="378" y="1931"/>
                  </a:lnTo>
                  <a:lnTo>
                    <a:pt x="380" y="1922"/>
                  </a:lnTo>
                  <a:lnTo>
                    <a:pt x="381" y="1911"/>
                  </a:lnTo>
                  <a:lnTo>
                    <a:pt x="382" y="1897"/>
                  </a:lnTo>
                  <a:lnTo>
                    <a:pt x="382" y="1880"/>
                  </a:lnTo>
                  <a:lnTo>
                    <a:pt x="381" y="1861"/>
                  </a:lnTo>
                  <a:lnTo>
                    <a:pt x="379" y="1840"/>
                  </a:lnTo>
                  <a:lnTo>
                    <a:pt x="375" y="1816"/>
                  </a:lnTo>
                  <a:lnTo>
                    <a:pt x="370" y="1788"/>
                  </a:lnTo>
                  <a:lnTo>
                    <a:pt x="362" y="1758"/>
                  </a:lnTo>
                  <a:lnTo>
                    <a:pt x="351" y="1726"/>
                  </a:lnTo>
                  <a:lnTo>
                    <a:pt x="338" y="1691"/>
                  </a:lnTo>
                  <a:lnTo>
                    <a:pt x="322" y="1654"/>
                  </a:lnTo>
                  <a:lnTo>
                    <a:pt x="303" y="1614"/>
                  </a:lnTo>
                  <a:lnTo>
                    <a:pt x="280" y="1571"/>
                  </a:lnTo>
                  <a:lnTo>
                    <a:pt x="253" y="1525"/>
                  </a:lnTo>
                  <a:lnTo>
                    <a:pt x="222" y="1476"/>
                  </a:lnTo>
                  <a:lnTo>
                    <a:pt x="186" y="1426"/>
                  </a:lnTo>
                  <a:lnTo>
                    <a:pt x="184" y="1423"/>
                  </a:lnTo>
                  <a:lnTo>
                    <a:pt x="146" y="1370"/>
                  </a:lnTo>
                  <a:lnTo>
                    <a:pt x="112" y="1315"/>
                  </a:lnTo>
                  <a:lnTo>
                    <a:pt x="83" y="1257"/>
                  </a:lnTo>
                  <a:lnTo>
                    <a:pt x="58" y="1199"/>
                  </a:lnTo>
                  <a:lnTo>
                    <a:pt x="37" y="1138"/>
                  </a:lnTo>
                  <a:lnTo>
                    <a:pt x="21" y="1076"/>
                  </a:lnTo>
                  <a:lnTo>
                    <a:pt x="9" y="1012"/>
                  </a:lnTo>
                  <a:lnTo>
                    <a:pt x="2" y="948"/>
                  </a:lnTo>
                  <a:lnTo>
                    <a:pt x="0" y="883"/>
                  </a:lnTo>
                  <a:lnTo>
                    <a:pt x="3" y="811"/>
                  </a:lnTo>
                  <a:lnTo>
                    <a:pt x="11" y="739"/>
                  </a:lnTo>
                  <a:lnTo>
                    <a:pt x="25" y="671"/>
                  </a:lnTo>
                  <a:lnTo>
                    <a:pt x="45" y="604"/>
                  </a:lnTo>
                  <a:lnTo>
                    <a:pt x="69" y="540"/>
                  </a:lnTo>
                  <a:lnTo>
                    <a:pt x="98" y="477"/>
                  </a:lnTo>
                  <a:lnTo>
                    <a:pt x="132" y="418"/>
                  </a:lnTo>
                  <a:lnTo>
                    <a:pt x="170" y="361"/>
                  </a:lnTo>
                  <a:lnTo>
                    <a:pt x="213" y="308"/>
                  </a:lnTo>
                  <a:lnTo>
                    <a:pt x="259" y="259"/>
                  </a:lnTo>
                  <a:lnTo>
                    <a:pt x="308" y="212"/>
                  </a:lnTo>
                  <a:lnTo>
                    <a:pt x="361" y="170"/>
                  </a:lnTo>
                  <a:lnTo>
                    <a:pt x="417" y="132"/>
                  </a:lnTo>
                  <a:lnTo>
                    <a:pt x="477" y="98"/>
                  </a:lnTo>
                  <a:lnTo>
                    <a:pt x="539" y="69"/>
                  </a:lnTo>
                  <a:lnTo>
                    <a:pt x="604" y="45"/>
                  </a:lnTo>
                  <a:lnTo>
                    <a:pt x="670" y="26"/>
                  </a:lnTo>
                  <a:lnTo>
                    <a:pt x="739" y="12"/>
                  </a:lnTo>
                  <a:lnTo>
                    <a:pt x="810" y="3"/>
                  </a:lnTo>
                  <a:lnTo>
                    <a:pt x="88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8580" tIns="64292" rIns="128580" bIns="64292" numCol="1" anchor="t" anchorCtr="0" compatLnSpc="1">
              <a:prstTxWarp prst="textNoShape">
                <a:avLst/>
              </a:prstTxWarp>
            </a:bodyPr>
            <a:lstStyle/>
            <a:p>
              <a:pPr defTabSz="1248295"/>
              <a:endParaRPr lang="es-SV" sz="11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/>
          </p:nvSpPr>
          <p:spPr bwMode="auto">
            <a:xfrm>
              <a:off x="2856" y="-690"/>
              <a:ext cx="118" cy="37"/>
            </a:xfrm>
            <a:custGeom>
              <a:avLst/>
              <a:gdLst>
                <a:gd name="T0" fmla="*/ 142 w 1060"/>
                <a:gd name="T1" fmla="*/ 115 h 332"/>
                <a:gd name="T2" fmla="*/ 131 w 1060"/>
                <a:gd name="T3" fmla="*/ 117 h 332"/>
                <a:gd name="T4" fmla="*/ 123 w 1060"/>
                <a:gd name="T5" fmla="*/ 123 h 332"/>
                <a:gd name="T6" fmla="*/ 117 w 1060"/>
                <a:gd name="T7" fmla="*/ 131 h 332"/>
                <a:gd name="T8" fmla="*/ 115 w 1060"/>
                <a:gd name="T9" fmla="*/ 141 h 332"/>
                <a:gd name="T10" fmla="*/ 115 w 1060"/>
                <a:gd name="T11" fmla="*/ 190 h 332"/>
                <a:gd name="T12" fmla="*/ 117 w 1060"/>
                <a:gd name="T13" fmla="*/ 200 h 332"/>
                <a:gd name="T14" fmla="*/ 123 w 1060"/>
                <a:gd name="T15" fmla="*/ 209 h 332"/>
                <a:gd name="T16" fmla="*/ 131 w 1060"/>
                <a:gd name="T17" fmla="*/ 214 h 332"/>
                <a:gd name="T18" fmla="*/ 142 w 1060"/>
                <a:gd name="T19" fmla="*/ 216 h 332"/>
                <a:gd name="T20" fmla="*/ 918 w 1060"/>
                <a:gd name="T21" fmla="*/ 216 h 332"/>
                <a:gd name="T22" fmla="*/ 928 w 1060"/>
                <a:gd name="T23" fmla="*/ 214 h 332"/>
                <a:gd name="T24" fmla="*/ 936 w 1060"/>
                <a:gd name="T25" fmla="*/ 209 h 332"/>
                <a:gd name="T26" fmla="*/ 942 w 1060"/>
                <a:gd name="T27" fmla="*/ 200 h 332"/>
                <a:gd name="T28" fmla="*/ 944 w 1060"/>
                <a:gd name="T29" fmla="*/ 190 h 332"/>
                <a:gd name="T30" fmla="*/ 944 w 1060"/>
                <a:gd name="T31" fmla="*/ 141 h 332"/>
                <a:gd name="T32" fmla="*/ 942 w 1060"/>
                <a:gd name="T33" fmla="*/ 131 h 332"/>
                <a:gd name="T34" fmla="*/ 936 w 1060"/>
                <a:gd name="T35" fmla="*/ 123 h 332"/>
                <a:gd name="T36" fmla="*/ 928 w 1060"/>
                <a:gd name="T37" fmla="*/ 117 h 332"/>
                <a:gd name="T38" fmla="*/ 918 w 1060"/>
                <a:gd name="T39" fmla="*/ 115 h 332"/>
                <a:gd name="T40" fmla="*/ 142 w 1060"/>
                <a:gd name="T41" fmla="*/ 115 h 332"/>
                <a:gd name="T42" fmla="*/ 142 w 1060"/>
                <a:gd name="T43" fmla="*/ 0 h 332"/>
                <a:gd name="T44" fmla="*/ 917 w 1060"/>
                <a:gd name="T45" fmla="*/ 0 h 332"/>
                <a:gd name="T46" fmla="*/ 946 w 1060"/>
                <a:gd name="T47" fmla="*/ 3 h 332"/>
                <a:gd name="T48" fmla="*/ 973 w 1060"/>
                <a:gd name="T49" fmla="*/ 11 h 332"/>
                <a:gd name="T50" fmla="*/ 997 w 1060"/>
                <a:gd name="T51" fmla="*/ 24 h 332"/>
                <a:gd name="T52" fmla="*/ 1018 w 1060"/>
                <a:gd name="T53" fmla="*/ 41 h 332"/>
                <a:gd name="T54" fmla="*/ 1035 w 1060"/>
                <a:gd name="T55" fmla="*/ 62 h 332"/>
                <a:gd name="T56" fmla="*/ 1049 w 1060"/>
                <a:gd name="T57" fmla="*/ 86 h 332"/>
                <a:gd name="T58" fmla="*/ 1057 w 1060"/>
                <a:gd name="T59" fmla="*/ 113 h 332"/>
                <a:gd name="T60" fmla="*/ 1060 w 1060"/>
                <a:gd name="T61" fmla="*/ 141 h 332"/>
                <a:gd name="T62" fmla="*/ 1060 w 1060"/>
                <a:gd name="T63" fmla="*/ 190 h 332"/>
                <a:gd name="T64" fmla="*/ 1057 w 1060"/>
                <a:gd name="T65" fmla="*/ 218 h 332"/>
                <a:gd name="T66" fmla="*/ 1049 w 1060"/>
                <a:gd name="T67" fmla="*/ 245 h 332"/>
                <a:gd name="T68" fmla="*/ 1036 w 1060"/>
                <a:gd name="T69" fmla="*/ 270 h 332"/>
                <a:gd name="T70" fmla="*/ 1018 w 1060"/>
                <a:gd name="T71" fmla="*/ 291 h 332"/>
                <a:gd name="T72" fmla="*/ 997 w 1060"/>
                <a:gd name="T73" fmla="*/ 308 h 332"/>
                <a:gd name="T74" fmla="*/ 973 w 1060"/>
                <a:gd name="T75" fmla="*/ 321 h 332"/>
                <a:gd name="T76" fmla="*/ 946 w 1060"/>
                <a:gd name="T77" fmla="*/ 329 h 332"/>
                <a:gd name="T78" fmla="*/ 918 w 1060"/>
                <a:gd name="T79" fmla="*/ 332 h 332"/>
                <a:gd name="T80" fmla="*/ 142 w 1060"/>
                <a:gd name="T81" fmla="*/ 332 h 332"/>
                <a:gd name="T82" fmla="*/ 113 w 1060"/>
                <a:gd name="T83" fmla="*/ 329 h 332"/>
                <a:gd name="T84" fmla="*/ 86 w 1060"/>
                <a:gd name="T85" fmla="*/ 321 h 332"/>
                <a:gd name="T86" fmla="*/ 62 w 1060"/>
                <a:gd name="T87" fmla="*/ 308 h 332"/>
                <a:gd name="T88" fmla="*/ 41 w 1060"/>
                <a:gd name="T89" fmla="*/ 291 h 332"/>
                <a:gd name="T90" fmla="*/ 24 w 1060"/>
                <a:gd name="T91" fmla="*/ 270 h 332"/>
                <a:gd name="T92" fmla="*/ 11 w 1060"/>
                <a:gd name="T93" fmla="*/ 245 h 332"/>
                <a:gd name="T94" fmla="*/ 3 w 1060"/>
                <a:gd name="T95" fmla="*/ 218 h 332"/>
                <a:gd name="T96" fmla="*/ 0 w 1060"/>
                <a:gd name="T97" fmla="*/ 190 h 332"/>
                <a:gd name="T98" fmla="*/ 0 w 1060"/>
                <a:gd name="T99" fmla="*/ 141 h 332"/>
                <a:gd name="T100" fmla="*/ 3 w 1060"/>
                <a:gd name="T101" fmla="*/ 113 h 332"/>
                <a:gd name="T102" fmla="*/ 11 w 1060"/>
                <a:gd name="T103" fmla="*/ 86 h 332"/>
                <a:gd name="T104" fmla="*/ 24 w 1060"/>
                <a:gd name="T105" fmla="*/ 62 h 332"/>
                <a:gd name="T106" fmla="*/ 41 w 1060"/>
                <a:gd name="T107" fmla="*/ 41 h 332"/>
                <a:gd name="T108" fmla="*/ 62 w 1060"/>
                <a:gd name="T109" fmla="*/ 24 h 332"/>
                <a:gd name="T110" fmla="*/ 86 w 1060"/>
                <a:gd name="T111" fmla="*/ 11 h 332"/>
                <a:gd name="T112" fmla="*/ 113 w 1060"/>
                <a:gd name="T113" fmla="*/ 3 h 332"/>
                <a:gd name="T114" fmla="*/ 142 w 1060"/>
                <a:gd name="T115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060" h="332">
                  <a:moveTo>
                    <a:pt x="142" y="115"/>
                  </a:moveTo>
                  <a:lnTo>
                    <a:pt x="131" y="117"/>
                  </a:lnTo>
                  <a:lnTo>
                    <a:pt x="123" y="123"/>
                  </a:lnTo>
                  <a:lnTo>
                    <a:pt x="117" y="131"/>
                  </a:lnTo>
                  <a:lnTo>
                    <a:pt x="115" y="141"/>
                  </a:lnTo>
                  <a:lnTo>
                    <a:pt x="115" y="190"/>
                  </a:lnTo>
                  <a:lnTo>
                    <a:pt x="117" y="200"/>
                  </a:lnTo>
                  <a:lnTo>
                    <a:pt x="123" y="209"/>
                  </a:lnTo>
                  <a:lnTo>
                    <a:pt x="131" y="214"/>
                  </a:lnTo>
                  <a:lnTo>
                    <a:pt x="142" y="216"/>
                  </a:lnTo>
                  <a:lnTo>
                    <a:pt x="918" y="216"/>
                  </a:lnTo>
                  <a:lnTo>
                    <a:pt x="928" y="214"/>
                  </a:lnTo>
                  <a:lnTo>
                    <a:pt x="936" y="209"/>
                  </a:lnTo>
                  <a:lnTo>
                    <a:pt x="942" y="200"/>
                  </a:lnTo>
                  <a:lnTo>
                    <a:pt x="944" y="190"/>
                  </a:lnTo>
                  <a:lnTo>
                    <a:pt x="944" y="141"/>
                  </a:lnTo>
                  <a:lnTo>
                    <a:pt x="942" y="131"/>
                  </a:lnTo>
                  <a:lnTo>
                    <a:pt x="936" y="123"/>
                  </a:lnTo>
                  <a:lnTo>
                    <a:pt x="928" y="117"/>
                  </a:lnTo>
                  <a:lnTo>
                    <a:pt x="918" y="115"/>
                  </a:lnTo>
                  <a:lnTo>
                    <a:pt x="142" y="115"/>
                  </a:lnTo>
                  <a:close/>
                  <a:moveTo>
                    <a:pt x="142" y="0"/>
                  </a:moveTo>
                  <a:lnTo>
                    <a:pt x="917" y="0"/>
                  </a:lnTo>
                  <a:lnTo>
                    <a:pt x="946" y="3"/>
                  </a:lnTo>
                  <a:lnTo>
                    <a:pt x="973" y="11"/>
                  </a:lnTo>
                  <a:lnTo>
                    <a:pt x="997" y="24"/>
                  </a:lnTo>
                  <a:lnTo>
                    <a:pt x="1018" y="41"/>
                  </a:lnTo>
                  <a:lnTo>
                    <a:pt x="1035" y="62"/>
                  </a:lnTo>
                  <a:lnTo>
                    <a:pt x="1049" y="86"/>
                  </a:lnTo>
                  <a:lnTo>
                    <a:pt x="1057" y="113"/>
                  </a:lnTo>
                  <a:lnTo>
                    <a:pt x="1060" y="141"/>
                  </a:lnTo>
                  <a:lnTo>
                    <a:pt x="1060" y="190"/>
                  </a:lnTo>
                  <a:lnTo>
                    <a:pt x="1057" y="218"/>
                  </a:lnTo>
                  <a:lnTo>
                    <a:pt x="1049" y="245"/>
                  </a:lnTo>
                  <a:lnTo>
                    <a:pt x="1036" y="270"/>
                  </a:lnTo>
                  <a:lnTo>
                    <a:pt x="1018" y="291"/>
                  </a:lnTo>
                  <a:lnTo>
                    <a:pt x="997" y="308"/>
                  </a:lnTo>
                  <a:lnTo>
                    <a:pt x="973" y="321"/>
                  </a:lnTo>
                  <a:lnTo>
                    <a:pt x="946" y="329"/>
                  </a:lnTo>
                  <a:lnTo>
                    <a:pt x="918" y="332"/>
                  </a:lnTo>
                  <a:lnTo>
                    <a:pt x="142" y="332"/>
                  </a:lnTo>
                  <a:lnTo>
                    <a:pt x="113" y="329"/>
                  </a:lnTo>
                  <a:lnTo>
                    <a:pt x="86" y="321"/>
                  </a:lnTo>
                  <a:lnTo>
                    <a:pt x="62" y="308"/>
                  </a:lnTo>
                  <a:lnTo>
                    <a:pt x="41" y="291"/>
                  </a:lnTo>
                  <a:lnTo>
                    <a:pt x="24" y="270"/>
                  </a:lnTo>
                  <a:lnTo>
                    <a:pt x="11" y="245"/>
                  </a:lnTo>
                  <a:lnTo>
                    <a:pt x="3" y="218"/>
                  </a:lnTo>
                  <a:lnTo>
                    <a:pt x="0" y="190"/>
                  </a:lnTo>
                  <a:lnTo>
                    <a:pt x="0" y="141"/>
                  </a:lnTo>
                  <a:lnTo>
                    <a:pt x="3" y="113"/>
                  </a:lnTo>
                  <a:lnTo>
                    <a:pt x="11" y="86"/>
                  </a:lnTo>
                  <a:lnTo>
                    <a:pt x="24" y="62"/>
                  </a:lnTo>
                  <a:lnTo>
                    <a:pt x="41" y="41"/>
                  </a:lnTo>
                  <a:lnTo>
                    <a:pt x="62" y="24"/>
                  </a:lnTo>
                  <a:lnTo>
                    <a:pt x="86" y="11"/>
                  </a:lnTo>
                  <a:lnTo>
                    <a:pt x="113" y="3"/>
                  </a:lnTo>
                  <a:lnTo>
                    <a:pt x="14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8580" tIns="64292" rIns="128580" bIns="64292" numCol="1" anchor="t" anchorCtr="0" compatLnSpc="1">
              <a:prstTxWarp prst="textNoShape">
                <a:avLst/>
              </a:prstTxWarp>
            </a:bodyPr>
            <a:lstStyle/>
            <a:p>
              <a:pPr defTabSz="1248295"/>
              <a:endParaRPr lang="es-SV" sz="11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24" name="Freeform 9"/>
            <p:cNvSpPr>
              <a:spLocks/>
            </p:cNvSpPr>
            <p:nvPr/>
          </p:nvSpPr>
          <p:spPr bwMode="auto">
            <a:xfrm>
              <a:off x="2876" y="-643"/>
              <a:ext cx="81" cy="45"/>
            </a:xfrm>
            <a:custGeom>
              <a:avLst/>
              <a:gdLst>
                <a:gd name="T0" fmla="*/ 57 w 736"/>
                <a:gd name="T1" fmla="*/ 0 h 410"/>
                <a:gd name="T2" fmla="*/ 75 w 736"/>
                <a:gd name="T3" fmla="*/ 3 h 410"/>
                <a:gd name="T4" fmla="*/ 91 w 736"/>
                <a:gd name="T5" fmla="*/ 11 h 410"/>
                <a:gd name="T6" fmla="*/ 103 w 736"/>
                <a:gd name="T7" fmla="*/ 24 h 410"/>
                <a:gd name="T8" fmla="*/ 112 w 736"/>
                <a:gd name="T9" fmla="*/ 39 h 410"/>
                <a:gd name="T10" fmla="*/ 114 w 736"/>
                <a:gd name="T11" fmla="*/ 57 h 410"/>
                <a:gd name="T12" fmla="*/ 114 w 736"/>
                <a:gd name="T13" fmla="*/ 173 h 410"/>
                <a:gd name="T14" fmla="*/ 367 w 736"/>
                <a:gd name="T15" fmla="*/ 288 h 410"/>
                <a:gd name="T16" fmla="*/ 621 w 736"/>
                <a:gd name="T17" fmla="*/ 169 h 410"/>
                <a:gd name="T18" fmla="*/ 621 w 736"/>
                <a:gd name="T19" fmla="*/ 57 h 410"/>
                <a:gd name="T20" fmla="*/ 624 w 736"/>
                <a:gd name="T21" fmla="*/ 39 h 410"/>
                <a:gd name="T22" fmla="*/ 632 w 736"/>
                <a:gd name="T23" fmla="*/ 24 h 410"/>
                <a:gd name="T24" fmla="*/ 645 w 736"/>
                <a:gd name="T25" fmla="*/ 11 h 410"/>
                <a:gd name="T26" fmla="*/ 660 w 736"/>
                <a:gd name="T27" fmla="*/ 3 h 410"/>
                <a:gd name="T28" fmla="*/ 678 w 736"/>
                <a:gd name="T29" fmla="*/ 0 h 410"/>
                <a:gd name="T30" fmla="*/ 697 w 736"/>
                <a:gd name="T31" fmla="*/ 3 h 410"/>
                <a:gd name="T32" fmla="*/ 712 w 736"/>
                <a:gd name="T33" fmla="*/ 11 h 410"/>
                <a:gd name="T34" fmla="*/ 725 w 736"/>
                <a:gd name="T35" fmla="*/ 24 h 410"/>
                <a:gd name="T36" fmla="*/ 733 w 736"/>
                <a:gd name="T37" fmla="*/ 39 h 410"/>
                <a:gd name="T38" fmla="*/ 736 w 736"/>
                <a:gd name="T39" fmla="*/ 57 h 410"/>
                <a:gd name="T40" fmla="*/ 736 w 736"/>
                <a:gd name="T41" fmla="*/ 205 h 410"/>
                <a:gd name="T42" fmla="*/ 733 w 736"/>
                <a:gd name="T43" fmla="*/ 221 h 410"/>
                <a:gd name="T44" fmla="*/ 727 w 736"/>
                <a:gd name="T45" fmla="*/ 236 h 410"/>
                <a:gd name="T46" fmla="*/ 717 w 736"/>
                <a:gd name="T47" fmla="*/ 248 h 410"/>
                <a:gd name="T48" fmla="*/ 703 w 736"/>
                <a:gd name="T49" fmla="*/ 257 h 410"/>
                <a:gd name="T50" fmla="*/ 392 w 736"/>
                <a:gd name="T51" fmla="*/ 404 h 410"/>
                <a:gd name="T52" fmla="*/ 380 w 736"/>
                <a:gd name="T53" fmla="*/ 408 h 410"/>
                <a:gd name="T54" fmla="*/ 367 w 736"/>
                <a:gd name="T55" fmla="*/ 410 h 410"/>
                <a:gd name="T56" fmla="*/ 355 w 736"/>
                <a:gd name="T57" fmla="*/ 408 h 410"/>
                <a:gd name="T58" fmla="*/ 344 w 736"/>
                <a:gd name="T59" fmla="*/ 404 h 410"/>
                <a:gd name="T60" fmla="*/ 33 w 736"/>
                <a:gd name="T61" fmla="*/ 262 h 410"/>
                <a:gd name="T62" fmla="*/ 19 w 736"/>
                <a:gd name="T63" fmla="*/ 253 h 410"/>
                <a:gd name="T64" fmla="*/ 9 w 736"/>
                <a:gd name="T65" fmla="*/ 241 h 410"/>
                <a:gd name="T66" fmla="*/ 2 w 736"/>
                <a:gd name="T67" fmla="*/ 226 h 410"/>
                <a:gd name="T68" fmla="*/ 0 w 736"/>
                <a:gd name="T69" fmla="*/ 210 h 410"/>
                <a:gd name="T70" fmla="*/ 0 w 736"/>
                <a:gd name="T71" fmla="*/ 57 h 410"/>
                <a:gd name="T72" fmla="*/ 3 w 736"/>
                <a:gd name="T73" fmla="*/ 39 h 410"/>
                <a:gd name="T74" fmla="*/ 11 w 736"/>
                <a:gd name="T75" fmla="*/ 24 h 410"/>
                <a:gd name="T76" fmla="*/ 23 w 736"/>
                <a:gd name="T77" fmla="*/ 11 h 410"/>
                <a:gd name="T78" fmla="*/ 39 w 736"/>
                <a:gd name="T79" fmla="*/ 3 h 410"/>
                <a:gd name="T80" fmla="*/ 57 w 736"/>
                <a:gd name="T81" fmla="*/ 0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36" h="410">
                  <a:moveTo>
                    <a:pt x="57" y="0"/>
                  </a:moveTo>
                  <a:lnTo>
                    <a:pt x="75" y="3"/>
                  </a:lnTo>
                  <a:lnTo>
                    <a:pt x="91" y="11"/>
                  </a:lnTo>
                  <a:lnTo>
                    <a:pt x="103" y="24"/>
                  </a:lnTo>
                  <a:lnTo>
                    <a:pt x="112" y="39"/>
                  </a:lnTo>
                  <a:lnTo>
                    <a:pt x="114" y="57"/>
                  </a:lnTo>
                  <a:lnTo>
                    <a:pt x="114" y="173"/>
                  </a:lnTo>
                  <a:lnTo>
                    <a:pt x="367" y="288"/>
                  </a:lnTo>
                  <a:lnTo>
                    <a:pt x="621" y="169"/>
                  </a:lnTo>
                  <a:lnTo>
                    <a:pt x="621" y="57"/>
                  </a:lnTo>
                  <a:lnTo>
                    <a:pt x="624" y="39"/>
                  </a:lnTo>
                  <a:lnTo>
                    <a:pt x="632" y="24"/>
                  </a:lnTo>
                  <a:lnTo>
                    <a:pt x="645" y="11"/>
                  </a:lnTo>
                  <a:lnTo>
                    <a:pt x="660" y="3"/>
                  </a:lnTo>
                  <a:lnTo>
                    <a:pt x="678" y="0"/>
                  </a:lnTo>
                  <a:lnTo>
                    <a:pt x="697" y="3"/>
                  </a:lnTo>
                  <a:lnTo>
                    <a:pt x="712" y="11"/>
                  </a:lnTo>
                  <a:lnTo>
                    <a:pt x="725" y="24"/>
                  </a:lnTo>
                  <a:lnTo>
                    <a:pt x="733" y="39"/>
                  </a:lnTo>
                  <a:lnTo>
                    <a:pt x="736" y="57"/>
                  </a:lnTo>
                  <a:lnTo>
                    <a:pt x="736" y="205"/>
                  </a:lnTo>
                  <a:lnTo>
                    <a:pt x="733" y="221"/>
                  </a:lnTo>
                  <a:lnTo>
                    <a:pt x="727" y="236"/>
                  </a:lnTo>
                  <a:lnTo>
                    <a:pt x="717" y="248"/>
                  </a:lnTo>
                  <a:lnTo>
                    <a:pt x="703" y="257"/>
                  </a:lnTo>
                  <a:lnTo>
                    <a:pt x="392" y="404"/>
                  </a:lnTo>
                  <a:lnTo>
                    <a:pt x="380" y="408"/>
                  </a:lnTo>
                  <a:lnTo>
                    <a:pt x="367" y="410"/>
                  </a:lnTo>
                  <a:lnTo>
                    <a:pt x="355" y="408"/>
                  </a:lnTo>
                  <a:lnTo>
                    <a:pt x="344" y="404"/>
                  </a:lnTo>
                  <a:lnTo>
                    <a:pt x="33" y="262"/>
                  </a:lnTo>
                  <a:lnTo>
                    <a:pt x="19" y="253"/>
                  </a:lnTo>
                  <a:lnTo>
                    <a:pt x="9" y="241"/>
                  </a:lnTo>
                  <a:lnTo>
                    <a:pt x="2" y="226"/>
                  </a:lnTo>
                  <a:lnTo>
                    <a:pt x="0" y="210"/>
                  </a:lnTo>
                  <a:lnTo>
                    <a:pt x="0" y="57"/>
                  </a:lnTo>
                  <a:lnTo>
                    <a:pt x="3" y="39"/>
                  </a:lnTo>
                  <a:lnTo>
                    <a:pt x="11" y="24"/>
                  </a:lnTo>
                  <a:lnTo>
                    <a:pt x="23" y="11"/>
                  </a:lnTo>
                  <a:lnTo>
                    <a:pt x="39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8580" tIns="64292" rIns="128580" bIns="64292" numCol="1" anchor="t" anchorCtr="0" compatLnSpc="1">
              <a:prstTxWarp prst="textNoShape">
                <a:avLst/>
              </a:prstTxWarp>
            </a:bodyPr>
            <a:lstStyle/>
            <a:p>
              <a:pPr defTabSz="1248295"/>
              <a:endParaRPr lang="es-SV" sz="11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25" name="Freeform 10"/>
            <p:cNvSpPr>
              <a:spLocks/>
            </p:cNvSpPr>
            <p:nvPr/>
          </p:nvSpPr>
          <p:spPr bwMode="auto">
            <a:xfrm>
              <a:off x="3011" y="-747"/>
              <a:ext cx="56" cy="45"/>
            </a:xfrm>
            <a:custGeom>
              <a:avLst/>
              <a:gdLst>
                <a:gd name="T0" fmla="*/ 63 w 505"/>
                <a:gd name="T1" fmla="*/ 0 h 402"/>
                <a:gd name="T2" fmla="*/ 77 w 505"/>
                <a:gd name="T3" fmla="*/ 3 h 402"/>
                <a:gd name="T4" fmla="*/ 91 w 505"/>
                <a:gd name="T5" fmla="*/ 10 h 402"/>
                <a:gd name="T6" fmla="*/ 482 w 505"/>
                <a:gd name="T7" fmla="*/ 298 h 402"/>
                <a:gd name="T8" fmla="*/ 493 w 505"/>
                <a:gd name="T9" fmla="*/ 309 h 402"/>
                <a:gd name="T10" fmla="*/ 501 w 505"/>
                <a:gd name="T11" fmla="*/ 322 h 402"/>
                <a:gd name="T12" fmla="*/ 505 w 505"/>
                <a:gd name="T13" fmla="*/ 336 h 402"/>
                <a:gd name="T14" fmla="*/ 505 w 505"/>
                <a:gd name="T15" fmla="*/ 351 h 402"/>
                <a:gd name="T16" fmla="*/ 502 w 505"/>
                <a:gd name="T17" fmla="*/ 365 h 402"/>
                <a:gd name="T18" fmla="*/ 494 w 505"/>
                <a:gd name="T19" fmla="*/ 379 h 402"/>
                <a:gd name="T20" fmla="*/ 485 w 505"/>
                <a:gd name="T21" fmla="*/ 389 h 402"/>
                <a:gd name="T22" fmla="*/ 474 w 505"/>
                <a:gd name="T23" fmla="*/ 396 h 402"/>
                <a:gd name="T24" fmla="*/ 461 w 505"/>
                <a:gd name="T25" fmla="*/ 401 h 402"/>
                <a:gd name="T26" fmla="*/ 448 w 505"/>
                <a:gd name="T27" fmla="*/ 402 h 402"/>
                <a:gd name="T28" fmla="*/ 436 w 505"/>
                <a:gd name="T29" fmla="*/ 401 h 402"/>
                <a:gd name="T30" fmla="*/ 425 w 505"/>
                <a:gd name="T31" fmla="*/ 397 h 402"/>
                <a:gd name="T32" fmla="*/ 414 w 505"/>
                <a:gd name="T33" fmla="*/ 391 h 402"/>
                <a:gd name="T34" fmla="*/ 23 w 505"/>
                <a:gd name="T35" fmla="*/ 103 h 402"/>
                <a:gd name="T36" fmla="*/ 12 w 505"/>
                <a:gd name="T37" fmla="*/ 92 h 402"/>
                <a:gd name="T38" fmla="*/ 4 w 505"/>
                <a:gd name="T39" fmla="*/ 79 h 402"/>
                <a:gd name="T40" fmla="*/ 0 w 505"/>
                <a:gd name="T41" fmla="*/ 65 h 402"/>
                <a:gd name="T42" fmla="*/ 0 w 505"/>
                <a:gd name="T43" fmla="*/ 50 h 402"/>
                <a:gd name="T44" fmla="*/ 3 w 505"/>
                <a:gd name="T45" fmla="*/ 36 h 402"/>
                <a:gd name="T46" fmla="*/ 11 w 505"/>
                <a:gd name="T47" fmla="*/ 22 h 402"/>
                <a:gd name="T48" fmla="*/ 21 w 505"/>
                <a:gd name="T49" fmla="*/ 11 h 402"/>
                <a:gd name="T50" fmla="*/ 34 w 505"/>
                <a:gd name="T51" fmla="*/ 4 h 402"/>
                <a:gd name="T52" fmla="*/ 48 w 505"/>
                <a:gd name="T53" fmla="*/ 0 h 402"/>
                <a:gd name="T54" fmla="*/ 63 w 505"/>
                <a:gd name="T55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05" h="402">
                  <a:moveTo>
                    <a:pt x="63" y="0"/>
                  </a:moveTo>
                  <a:lnTo>
                    <a:pt x="77" y="3"/>
                  </a:lnTo>
                  <a:lnTo>
                    <a:pt x="91" y="10"/>
                  </a:lnTo>
                  <a:lnTo>
                    <a:pt x="482" y="298"/>
                  </a:lnTo>
                  <a:lnTo>
                    <a:pt x="493" y="309"/>
                  </a:lnTo>
                  <a:lnTo>
                    <a:pt x="501" y="322"/>
                  </a:lnTo>
                  <a:lnTo>
                    <a:pt x="505" y="336"/>
                  </a:lnTo>
                  <a:lnTo>
                    <a:pt x="505" y="351"/>
                  </a:lnTo>
                  <a:lnTo>
                    <a:pt x="502" y="365"/>
                  </a:lnTo>
                  <a:lnTo>
                    <a:pt x="494" y="379"/>
                  </a:lnTo>
                  <a:lnTo>
                    <a:pt x="485" y="389"/>
                  </a:lnTo>
                  <a:lnTo>
                    <a:pt x="474" y="396"/>
                  </a:lnTo>
                  <a:lnTo>
                    <a:pt x="461" y="401"/>
                  </a:lnTo>
                  <a:lnTo>
                    <a:pt x="448" y="402"/>
                  </a:lnTo>
                  <a:lnTo>
                    <a:pt x="436" y="401"/>
                  </a:lnTo>
                  <a:lnTo>
                    <a:pt x="425" y="397"/>
                  </a:lnTo>
                  <a:lnTo>
                    <a:pt x="414" y="391"/>
                  </a:lnTo>
                  <a:lnTo>
                    <a:pt x="23" y="103"/>
                  </a:lnTo>
                  <a:lnTo>
                    <a:pt x="12" y="92"/>
                  </a:lnTo>
                  <a:lnTo>
                    <a:pt x="4" y="79"/>
                  </a:lnTo>
                  <a:lnTo>
                    <a:pt x="0" y="65"/>
                  </a:lnTo>
                  <a:lnTo>
                    <a:pt x="0" y="50"/>
                  </a:lnTo>
                  <a:lnTo>
                    <a:pt x="3" y="36"/>
                  </a:lnTo>
                  <a:lnTo>
                    <a:pt x="11" y="22"/>
                  </a:lnTo>
                  <a:lnTo>
                    <a:pt x="21" y="11"/>
                  </a:lnTo>
                  <a:lnTo>
                    <a:pt x="34" y="4"/>
                  </a:lnTo>
                  <a:lnTo>
                    <a:pt x="48" y="0"/>
                  </a:lnTo>
                  <a:lnTo>
                    <a:pt x="6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8580" tIns="64292" rIns="128580" bIns="64292" numCol="1" anchor="t" anchorCtr="0" compatLnSpc="1">
              <a:prstTxWarp prst="textNoShape">
                <a:avLst/>
              </a:prstTxWarp>
            </a:bodyPr>
            <a:lstStyle/>
            <a:p>
              <a:pPr defTabSz="1248295"/>
              <a:endParaRPr lang="es-SV" sz="11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26" name="Freeform 11"/>
            <p:cNvSpPr>
              <a:spLocks/>
            </p:cNvSpPr>
            <p:nvPr/>
          </p:nvSpPr>
          <p:spPr bwMode="auto">
            <a:xfrm>
              <a:off x="2764" y="-929"/>
              <a:ext cx="57" cy="46"/>
            </a:xfrm>
            <a:custGeom>
              <a:avLst/>
              <a:gdLst>
                <a:gd name="T0" fmla="*/ 63 w 514"/>
                <a:gd name="T1" fmla="*/ 0 h 410"/>
                <a:gd name="T2" fmla="*/ 78 w 514"/>
                <a:gd name="T3" fmla="*/ 4 h 410"/>
                <a:gd name="T4" fmla="*/ 91 w 514"/>
                <a:gd name="T5" fmla="*/ 11 h 410"/>
                <a:gd name="T6" fmla="*/ 491 w 514"/>
                <a:gd name="T7" fmla="*/ 306 h 410"/>
                <a:gd name="T8" fmla="*/ 502 w 514"/>
                <a:gd name="T9" fmla="*/ 316 h 410"/>
                <a:gd name="T10" fmla="*/ 510 w 514"/>
                <a:gd name="T11" fmla="*/ 329 h 410"/>
                <a:gd name="T12" fmla="*/ 514 w 514"/>
                <a:gd name="T13" fmla="*/ 344 h 410"/>
                <a:gd name="T14" fmla="*/ 514 w 514"/>
                <a:gd name="T15" fmla="*/ 359 h 410"/>
                <a:gd name="T16" fmla="*/ 511 w 514"/>
                <a:gd name="T17" fmla="*/ 374 h 410"/>
                <a:gd name="T18" fmla="*/ 503 w 514"/>
                <a:gd name="T19" fmla="*/ 387 h 410"/>
                <a:gd name="T20" fmla="*/ 494 w 514"/>
                <a:gd name="T21" fmla="*/ 397 h 410"/>
                <a:gd name="T22" fmla="*/ 483 w 514"/>
                <a:gd name="T23" fmla="*/ 404 h 410"/>
                <a:gd name="T24" fmla="*/ 470 w 514"/>
                <a:gd name="T25" fmla="*/ 409 h 410"/>
                <a:gd name="T26" fmla="*/ 457 w 514"/>
                <a:gd name="T27" fmla="*/ 410 h 410"/>
                <a:gd name="T28" fmla="*/ 445 w 514"/>
                <a:gd name="T29" fmla="*/ 409 h 410"/>
                <a:gd name="T30" fmla="*/ 434 w 514"/>
                <a:gd name="T31" fmla="*/ 405 h 410"/>
                <a:gd name="T32" fmla="*/ 423 w 514"/>
                <a:gd name="T33" fmla="*/ 399 h 410"/>
                <a:gd name="T34" fmla="*/ 23 w 514"/>
                <a:gd name="T35" fmla="*/ 105 h 410"/>
                <a:gd name="T36" fmla="*/ 12 w 514"/>
                <a:gd name="T37" fmla="*/ 94 h 410"/>
                <a:gd name="T38" fmla="*/ 4 w 514"/>
                <a:gd name="T39" fmla="*/ 80 h 410"/>
                <a:gd name="T40" fmla="*/ 0 w 514"/>
                <a:gd name="T41" fmla="*/ 66 h 410"/>
                <a:gd name="T42" fmla="*/ 0 w 514"/>
                <a:gd name="T43" fmla="*/ 51 h 410"/>
                <a:gd name="T44" fmla="*/ 4 w 514"/>
                <a:gd name="T45" fmla="*/ 37 h 410"/>
                <a:gd name="T46" fmla="*/ 11 w 514"/>
                <a:gd name="T47" fmla="*/ 23 h 410"/>
                <a:gd name="T48" fmla="*/ 22 w 514"/>
                <a:gd name="T49" fmla="*/ 12 h 410"/>
                <a:gd name="T50" fmla="*/ 35 w 514"/>
                <a:gd name="T51" fmla="*/ 5 h 410"/>
                <a:gd name="T52" fmla="*/ 49 w 514"/>
                <a:gd name="T53" fmla="*/ 1 h 410"/>
                <a:gd name="T54" fmla="*/ 63 w 514"/>
                <a:gd name="T55" fmla="*/ 0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14" h="410">
                  <a:moveTo>
                    <a:pt x="63" y="0"/>
                  </a:moveTo>
                  <a:lnTo>
                    <a:pt x="78" y="4"/>
                  </a:lnTo>
                  <a:lnTo>
                    <a:pt x="91" y="11"/>
                  </a:lnTo>
                  <a:lnTo>
                    <a:pt x="491" y="306"/>
                  </a:lnTo>
                  <a:lnTo>
                    <a:pt x="502" y="316"/>
                  </a:lnTo>
                  <a:lnTo>
                    <a:pt x="510" y="329"/>
                  </a:lnTo>
                  <a:lnTo>
                    <a:pt x="514" y="344"/>
                  </a:lnTo>
                  <a:lnTo>
                    <a:pt x="514" y="359"/>
                  </a:lnTo>
                  <a:lnTo>
                    <a:pt x="511" y="374"/>
                  </a:lnTo>
                  <a:lnTo>
                    <a:pt x="503" y="387"/>
                  </a:lnTo>
                  <a:lnTo>
                    <a:pt x="494" y="397"/>
                  </a:lnTo>
                  <a:lnTo>
                    <a:pt x="483" y="404"/>
                  </a:lnTo>
                  <a:lnTo>
                    <a:pt x="470" y="409"/>
                  </a:lnTo>
                  <a:lnTo>
                    <a:pt x="457" y="410"/>
                  </a:lnTo>
                  <a:lnTo>
                    <a:pt x="445" y="409"/>
                  </a:lnTo>
                  <a:lnTo>
                    <a:pt x="434" y="405"/>
                  </a:lnTo>
                  <a:lnTo>
                    <a:pt x="423" y="399"/>
                  </a:lnTo>
                  <a:lnTo>
                    <a:pt x="23" y="105"/>
                  </a:lnTo>
                  <a:lnTo>
                    <a:pt x="12" y="94"/>
                  </a:lnTo>
                  <a:lnTo>
                    <a:pt x="4" y="80"/>
                  </a:lnTo>
                  <a:lnTo>
                    <a:pt x="0" y="66"/>
                  </a:lnTo>
                  <a:lnTo>
                    <a:pt x="0" y="51"/>
                  </a:lnTo>
                  <a:lnTo>
                    <a:pt x="4" y="37"/>
                  </a:lnTo>
                  <a:lnTo>
                    <a:pt x="11" y="23"/>
                  </a:lnTo>
                  <a:lnTo>
                    <a:pt x="22" y="12"/>
                  </a:lnTo>
                  <a:lnTo>
                    <a:pt x="35" y="5"/>
                  </a:lnTo>
                  <a:lnTo>
                    <a:pt x="49" y="1"/>
                  </a:lnTo>
                  <a:lnTo>
                    <a:pt x="6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8580" tIns="64292" rIns="128580" bIns="64292" numCol="1" anchor="t" anchorCtr="0" compatLnSpc="1">
              <a:prstTxWarp prst="textNoShape">
                <a:avLst/>
              </a:prstTxWarp>
            </a:bodyPr>
            <a:lstStyle/>
            <a:p>
              <a:pPr defTabSz="1248295"/>
              <a:endParaRPr lang="es-SV" sz="11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27" name="Freeform 12"/>
            <p:cNvSpPr>
              <a:spLocks/>
            </p:cNvSpPr>
            <p:nvPr/>
          </p:nvSpPr>
          <p:spPr bwMode="auto">
            <a:xfrm>
              <a:off x="2764" y="-749"/>
              <a:ext cx="59" cy="47"/>
            </a:xfrm>
            <a:custGeom>
              <a:avLst/>
              <a:gdLst>
                <a:gd name="T0" fmla="*/ 469 w 532"/>
                <a:gd name="T1" fmla="*/ 0 h 423"/>
                <a:gd name="T2" fmla="*/ 484 w 532"/>
                <a:gd name="T3" fmla="*/ 0 h 423"/>
                <a:gd name="T4" fmla="*/ 498 w 532"/>
                <a:gd name="T5" fmla="*/ 4 h 423"/>
                <a:gd name="T6" fmla="*/ 511 w 532"/>
                <a:gd name="T7" fmla="*/ 12 h 423"/>
                <a:gd name="T8" fmla="*/ 521 w 532"/>
                <a:gd name="T9" fmla="*/ 24 h 423"/>
                <a:gd name="T10" fmla="*/ 529 w 532"/>
                <a:gd name="T11" fmla="*/ 37 h 423"/>
                <a:gd name="T12" fmla="*/ 532 w 532"/>
                <a:gd name="T13" fmla="*/ 52 h 423"/>
                <a:gd name="T14" fmla="*/ 532 w 532"/>
                <a:gd name="T15" fmla="*/ 66 h 423"/>
                <a:gd name="T16" fmla="*/ 528 w 532"/>
                <a:gd name="T17" fmla="*/ 81 h 423"/>
                <a:gd name="T18" fmla="*/ 520 w 532"/>
                <a:gd name="T19" fmla="*/ 93 h 423"/>
                <a:gd name="T20" fmla="*/ 509 w 532"/>
                <a:gd name="T21" fmla="*/ 104 h 423"/>
                <a:gd name="T22" fmla="*/ 91 w 532"/>
                <a:gd name="T23" fmla="*/ 412 h 423"/>
                <a:gd name="T24" fmla="*/ 81 w 532"/>
                <a:gd name="T25" fmla="*/ 418 h 423"/>
                <a:gd name="T26" fmla="*/ 69 w 532"/>
                <a:gd name="T27" fmla="*/ 422 h 423"/>
                <a:gd name="T28" fmla="*/ 57 w 532"/>
                <a:gd name="T29" fmla="*/ 423 h 423"/>
                <a:gd name="T30" fmla="*/ 44 w 532"/>
                <a:gd name="T31" fmla="*/ 422 h 423"/>
                <a:gd name="T32" fmla="*/ 32 w 532"/>
                <a:gd name="T33" fmla="*/ 417 h 423"/>
                <a:gd name="T34" fmla="*/ 21 w 532"/>
                <a:gd name="T35" fmla="*/ 410 h 423"/>
                <a:gd name="T36" fmla="*/ 11 w 532"/>
                <a:gd name="T37" fmla="*/ 400 h 423"/>
                <a:gd name="T38" fmla="*/ 4 w 532"/>
                <a:gd name="T39" fmla="*/ 386 h 423"/>
                <a:gd name="T40" fmla="*/ 0 w 532"/>
                <a:gd name="T41" fmla="*/ 372 h 423"/>
                <a:gd name="T42" fmla="*/ 0 w 532"/>
                <a:gd name="T43" fmla="*/ 357 h 423"/>
                <a:gd name="T44" fmla="*/ 4 w 532"/>
                <a:gd name="T45" fmla="*/ 343 h 423"/>
                <a:gd name="T46" fmla="*/ 12 w 532"/>
                <a:gd name="T47" fmla="*/ 330 h 423"/>
                <a:gd name="T48" fmla="*/ 23 w 532"/>
                <a:gd name="T49" fmla="*/ 319 h 423"/>
                <a:gd name="T50" fmla="*/ 441 w 532"/>
                <a:gd name="T51" fmla="*/ 11 h 423"/>
                <a:gd name="T52" fmla="*/ 455 w 532"/>
                <a:gd name="T53" fmla="*/ 3 h 423"/>
                <a:gd name="T54" fmla="*/ 469 w 532"/>
                <a:gd name="T55" fmla="*/ 0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32" h="423">
                  <a:moveTo>
                    <a:pt x="469" y="0"/>
                  </a:moveTo>
                  <a:lnTo>
                    <a:pt x="484" y="0"/>
                  </a:lnTo>
                  <a:lnTo>
                    <a:pt x="498" y="4"/>
                  </a:lnTo>
                  <a:lnTo>
                    <a:pt x="511" y="12"/>
                  </a:lnTo>
                  <a:lnTo>
                    <a:pt x="521" y="24"/>
                  </a:lnTo>
                  <a:lnTo>
                    <a:pt x="529" y="37"/>
                  </a:lnTo>
                  <a:lnTo>
                    <a:pt x="532" y="52"/>
                  </a:lnTo>
                  <a:lnTo>
                    <a:pt x="532" y="66"/>
                  </a:lnTo>
                  <a:lnTo>
                    <a:pt x="528" y="81"/>
                  </a:lnTo>
                  <a:lnTo>
                    <a:pt x="520" y="93"/>
                  </a:lnTo>
                  <a:lnTo>
                    <a:pt x="509" y="104"/>
                  </a:lnTo>
                  <a:lnTo>
                    <a:pt x="91" y="412"/>
                  </a:lnTo>
                  <a:lnTo>
                    <a:pt x="81" y="418"/>
                  </a:lnTo>
                  <a:lnTo>
                    <a:pt x="69" y="422"/>
                  </a:lnTo>
                  <a:lnTo>
                    <a:pt x="57" y="423"/>
                  </a:lnTo>
                  <a:lnTo>
                    <a:pt x="44" y="422"/>
                  </a:lnTo>
                  <a:lnTo>
                    <a:pt x="32" y="417"/>
                  </a:lnTo>
                  <a:lnTo>
                    <a:pt x="21" y="410"/>
                  </a:lnTo>
                  <a:lnTo>
                    <a:pt x="11" y="400"/>
                  </a:lnTo>
                  <a:lnTo>
                    <a:pt x="4" y="386"/>
                  </a:lnTo>
                  <a:lnTo>
                    <a:pt x="0" y="372"/>
                  </a:lnTo>
                  <a:lnTo>
                    <a:pt x="0" y="357"/>
                  </a:lnTo>
                  <a:lnTo>
                    <a:pt x="4" y="343"/>
                  </a:lnTo>
                  <a:lnTo>
                    <a:pt x="12" y="330"/>
                  </a:lnTo>
                  <a:lnTo>
                    <a:pt x="23" y="319"/>
                  </a:lnTo>
                  <a:lnTo>
                    <a:pt x="441" y="11"/>
                  </a:lnTo>
                  <a:lnTo>
                    <a:pt x="455" y="3"/>
                  </a:lnTo>
                  <a:lnTo>
                    <a:pt x="4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8580" tIns="64292" rIns="128580" bIns="64292" numCol="1" anchor="t" anchorCtr="0" compatLnSpc="1">
              <a:prstTxWarp prst="textNoShape">
                <a:avLst/>
              </a:prstTxWarp>
            </a:bodyPr>
            <a:lstStyle/>
            <a:p>
              <a:pPr defTabSz="1248295"/>
              <a:endParaRPr lang="es-SV" sz="11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28" name="Freeform 13"/>
            <p:cNvSpPr>
              <a:spLocks/>
            </p:cNvSpPr>
            <p:nvPr/>
          </p:nvSpPr>
          <p:spPr bwMode="auto">
            <a:xfrm>
              <a:off x="3012" y="-929"/>
              <a:ext cx="55" cy="44"/>
            </a:xfrm>
            <a:custGeom>
              <a:avLst/>
              <a:gdLst>
                <a:gd name="T0" fmla="*/ 425 w 488"/>
                <a:gd name="T1" fmla="*/ 0 h 392"/>
                <a:gd name="T2" fmla="*/ 440 w 488"/>
                <a:gd name="T3" fmla="*/ 1 h 392"/>
                <a:gd name="T4" fmla="*/ 454 w 488"/>
                <a:gd name="T5" fmla="*/ 5 h 392"/>
                <a:gd name="T6" fmla="*/ 467 w 488"/>
                <a:gd name="T7" fmla="*/ 12 h 392"/>
                <a:gd name="T8" fmla="*/ 477 w 488"/>
                <a:gd name="T9" fmla="*/ 23 h 392"/>
                <a:gd name="T10" fmla="*/ 485 w 488"/>
                <a:gd name="T11" fmla="*/ 37 h 392"/>
                <a:gd name="T12" fmla="*/ 488 w 488"/>
                <a:gd name="T13" fmla="*/ 51 h 392"/>
                <a:gd name="T14" fmla="*/ 488 w 488"/>
                <a:gd name="T15" fmla="*/ 66 h 392"/>
                <a:gd name="T16" fmla="*/ 484 w 488"/>
                <a:gd name="T17" fmla="*/ 80 h 392"/>
                <a:gd name="T18" fmla="*/ 476 w 488"/>
                <a:gd name="T19" fmla="*/ 94 h 392"/>
                <a:gd name="T20" fmla="*/ 465 w 488"/>
                <a:gd name="T21" fmla="*/ 105 h 392"/>
                <a:gd name="T22" fmla="*/ 91 w 488"/>
                <a:gd name="T23" fmla="*/ 380 h 392"/>
                <a:gd name="T24" fmla="*/ 80 w 488"/>
                <a:gd name="T25" fmla="*/ 386 h 392"/>
                <a:gd name="T26" fmla="*/ 69 w 488"/>
                <a:gd name="T27" fmla="*/ 390 h 392"/>
                <a:gd name="T28" fmla="*/ 57 w 488"/>
                <a:gd name="T29" fmla="*/ 392 h 392"/>
                <a:gd name="T30" fmla="*/ 44 w 488"/>
                <a:gd name="T31" fmla="*/ 390 h 392"/>
                <a:gd name="T32" fmla="*/ 31 w 488"/>
                <a:gd name="T33" fmla="*/ 385 h 392"/>
                <a:gd name="T34" fmla="*/ 20 w 488"/>
                <a:gd name="T35" fmla="*/ 378 h 392"/>
                <a:gd name="T36" fmla="*/ 11 w 488"/>
                <a:gd name="T37" fmla="*/ 368 h 392"/>
                <a:gd name="T38" fmla="*/ 3 w 488"/>
                <a:gd name="T39" fmla="*/ 354 h 392"/>
                <a:gd name="T40" fmla="*/ 0 w 488"/>
                <a:gd name="T41" fmla="*/ 340 h 392"/>
                <a:gd name="T42" fmla="*/ 0 w 488"/>
                <a:gd name="T43" fmla="*/ 324 h 392"/>
                <a:gd name="T44" fmla="*/ 4 w 488"/>
                <a:gd name="T45" fmla="*/ 310 h 392"/>
                <a:gd name="T46" fmla="*/ 12 w 488"/>
                <a:gd name="T47" fmla="*/ 297 h 392"/>
                <a:gd name="T48" fmla="*/ 23 w 488"/>
                <a:gd name="T49" fmla="*/ 287 h 392"/>
                <a:gd name="T50" fmla="*/ 397 w 488"/>
                <a:gd name="T51" fmla="*/ 11 h 392"/>
                <a:gd name="T52" fmla="*/ 411 w 488"/>
                <a:gd name="T53" fmla="*/ 4 h 392"/>
                <a:gd name="T54" fmla="*/ 425 w 488"/>
                <a:gd name="T55" fmla="*/ 0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88" h="392">
                  <a:moveTo>
                    <a:pt x="425" y="0"/>
                  </a:moveTo>
                  <a:lnTo>
                    <a:pt x="440" y="1"/>
                  </a:lnTo>
                  <a:lnTo>
                    <a:pt x="454" y="5"/>
                  </a:lnTo>
                  <a:lnTo>
                    <a:pt x="467" y="12"/>
                  </a:lnTo>
                  <a:lnTo>
                    <a:pt x="477" y="23"/>
                  </a:lnTo>
                  <a:lnTo>
                    <a:pt x="485" y="37"/>
                  </a:lnTo>
                  <a:lnTo>
                    <a:pt x="488" y="51"/>
                  </a:lnTo>
                  <a:lnTo>
                    <a:pt x="488" y="66"/>
                  </a:lnTo>
                  <a:lnTo>
                    <a:pt x="484" y="80"/>
                  </a:lnTo>
                  <a:lnTo>
                    <a:pt x="476" y="94"/>
                  </a:lnTo>
                  <a:lnTo>
                    <a:pt x="465" y="105"/>
                  </a:lnTo>
                  <a:lnTo>
                    <a:pt x="91" y="380"/>
                  </a:lnTo>
                  <a:lnTo>
                    <a:pt x="80" y="386"/>
                  </a:lnTo>
                  <a:lnTo>
                    <a:pt x="69" y="390"/>
                  </a:lnTo>
                  <a:lnTo>
                    <a:pt x="57" y="392"/>
                  </a:lnTo>
                  <a:lnTo>
                    <a:pt x="44" y="390"/>
                  </a:lnTo>
                  <a:lnTo>
                    <a:pt x="31" y="385"/>
                  </a:lnTo>
                  <a:lnTo>
                    <a:pt x="20" y="378"/>
                  </a:lnTo>
                  <a:lnTo>
                    <a:pt x="11" y="368"/>
                  </a:lnTo>
                  <a:lnTo>
                    <a:pt x="3" y="354"/>
                  </a:lnTo>
                  <a:lnTo>
                    <a:pt x="0" y="340"/>
                  </a:lnTo>
                  <a:lnTo>
                    <a:pt x="0" y="324"/>
                  </a:lnTo>
                  <a:lnTo>
                    <a:pt x="4" y="310"/>
                  </a:lnTo>
                  <a:lnTo>
                    <a:pt x="12" y="297"/>
                  </a:lnTo>
                  <a:lnTo>
                    <a:pt x="23" y="287"/>
                  </a:lnTo>
                  <a:lnTo>
                    <a:pt x="397" y="11"/>
                  </a:lnTo>
                  <a:lnTo>
                    <a:pt x="411" y="4"/>
                  </a:lnTo>
                  <a:lnTo>
                    <a:pt x="42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8580" tIns="64292" rIns="128580" bIns="64292" numCol="1" anchor="t" anchorCtr="0" compatLnSpc="1">
              <a:prstTxWarp prst="textNoShape">
                <a:avLst/>
              </a:prstTxWarp>
            </a:bodyPr>
            <a:lstStyle/>
            <a:p>
              <a:pPr defTabSz="1248295"/>
              <a:endParaRPr lang="es-SV" sz="11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29" name="Freeform 14"/>
            <p:cNvSpPr>
              <a:spLocks/>
            </p:cNvSpPr>
            <p:nvPr/>
          </p:nvSpPr>
          <p:spPr bwMode="auto">
            <a:xfrm>
              <a:off x="3035" y="-822"/>
              <a:ext cx="62" cy="13"/>
            </a:xfrm>
            <a:custGeom>
              <a:avLst/>
              <a:gdLst>
                <a:gd name="T0" fmla="*/ 57 w 555"/>
                <a:gd name="T1" fmla="*/ 0 h 115"/>
                <a:gd name="T2" fmla="*/ 498 w 555"/>
                <a:gd name="T3" fmla="*/ 0 h 115"/>
                <a:gd name="T4" fmla="*/ 516 w 555"/>
                <a:gd name="T5" fmla="*/ 3 h 115"/>
                <a:gd name="T6" fmla="*/ 532 w 555"/>
                <a:gd name="T7" fmla="*/ 11 h 115"/>
                <a:gd name="T8" fmla="*/ 544 w 555"/>
                <a:gd name="T9" fmla="*/ 24 h 115"/>
                <a:gd name="T10" fmla="*/ 552 w 555"/>
                <a:gd name="T11" fmla="*/ 39 h 115"/>
                <a:gd name="T12" fmla="*/ 555 w 555"/>
                <a:gd name="T13" fmla="*/ 58 h 115"/>
                <a:gd name="T14" fmla="*/ 552 w 555"/>
                <a:gd name="T15" fmla="*/ 76 h 115"/>
                <a:gd name="T16" fmla="*/ 544 w 555"/>
                <a:gd name="T17" fmla="*/ 91 h 115"/>
                <a:gd name="T18" fmla="*/ 532 w 555"/>
                <a:gd name="T19" fmla="*/ 104 h 115"/>
                <a:gd name="T20" fmla="*/ 516 w 555"/>
                <a:gd name="T21" fmla="*/ 112 h 115"/>
                <a:gd name="T22" fmla="*/ 498 w 555"/>
                <a:gd name="T23" fmla="*/ 115 h 115"/>
                <a:gd name="T24" fmla="*/ 57 w 555"/>
                <a:gd name="T25" fmla="*/ 115 h 115"/>
                <a:gd name="T26" fmla="*/ 39 w 555"/>
                <a:gd name="T27" fmla="*/ 112 h 115"/>
                <a:gd name="T28" fmla="*/ 23 w 555"/>
                <a:gd name="T29" fmla="*/ 104 h 115"/>
                <a:gd name="T30" fmla="*/ 11 w 555"/>
                <a:gd name="T31" fmla="*/ 91 h 115"/>
                <a:gd name="T32" fmla="*/ 3 w 555"/>
                <a:gd name="T33" fmla="*/ 76 h 115"/>
                <a:gd name="T34" fmla="*/ 0 w 555"/>
                <a:gd name="T35" fmla="*/ 58 h 115"/>
                <a:gd name="T36" fmla="*/ 3 w 555"/>
                <a:gd name="T37" fmla="*/ 39 h 115"/>
                <a:gd name="T38" fmla="*/ 11 w 555"/>
                <a:gd name="T39" fmla="*/ 24 h 115"/>
                <a:gd name="T40" fmla="*/ 23 w 555"/>
                <a:gd name="T41" fmla="*/ 11 h 115"/>
                <a:gd name="T42" fmla="*/ 39 w 555"/>
                <a:gd name="T43" fmla="*/ 3 h 115"/>
                <a:gd name="T44" fmla="*/ 57 w 555"/>
                <a:gd name="T4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55" h="115">
                  <a:moveTo>
                    <a:pt x="57" y="0"/>
                  </a:moveTo>
                  <a:lnTo>
                    <a:pt x="498" y="0"/>
                  </a:lnTo>
                  <a:lnTo>
                    <a:pt x="516" y="3"/>
                  </a:lnTo>
                  <a:lnTo>
                    <a:pt x="532" y="11"/>
                  </a:lnTo>
                  <a:lnTo>
                    <a:pt x="544" y="24"/>
                  </a:lnTo>
                  <a:lnTo>
                    <a:pt x="552" y="39"/>
                  </a:lnTo>
                  <a:lnTo>
                    <a:pt x="555" y="58"/>
                  </a:lnTo>
                  <a:lnTo>
                    <a:pt x="552" y="76"/>
                  </a:lnTo>
                  <a:lnTo>
                    <a:pt x="544" y="91"/>
                  </a:lnTo>
                  <a:lnTo>
                    <a:pt x="532" y="104"/>
                  </a:lnTo>
                  <a:lnTo>
                    <a:pt x="516" y="112"/>
                  </a:lnTo>
                  <a:lnTo>
                    <a:pt x="498" y="115"/>
                  </a:lnTo>
                  <a:lnTo>
                    <a:pt x="57" y="115"/>
                  </a:lnTo>
                  <a:lnTo>
                    <a:pt x="39" y="112"/>
                  </a:lnTo>
                  <a:lnTo>
                    <a:pt x="23" y="104"/>
                  </a:lnTo>
                  <a:lnTo>
                    <a:pt x="11" y="91"/>
                  </a:lnTo>
                  <a:lnTo>
                    <a:pt x="3" y="76"/>
                  </a:lnTo>
                  <a:lnTo>
                    <a:pt x="0" y="58"/>
                  </a:lnTo>
                  <a:lnTo>
                    <a:pt x="3" y="39"/>
                  </a:lnTo>
                  <a:lnTo>
                    <a:pt x="11" y="24"/>
                  </a:lnTo>
                  <a:lnTo>
                    <a:pt x="23" y="11"/>
                  </a:lnTo>
                  <a:lnTo>
                    <a:pt x="39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8580" tIns="64292" rIns="128580" bIns="64292" numCol="1" anchor="t" anchorCtr="0" compatLnSpc="1">
              <a:prstTxWarp prst="textNoShape">
                <a:avLst/>
              </a:prstTxWarp>
            </a:bodyPr>
            <a:lstStyle/>
            <a:p>
              <a:pPr defTabSz="1248295"/>
              <a:endParaRPr lang="es-SV" sz="11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30" name="Freeform 15"/>
            <p:cNvSpPr>
              <a:spLocks/>
            </p:cNvSpPr>
            <p:nvPr/>
          </p:nvSpPr>
          <p:spPr bwMode="auto">
            <a:xfrm>
              <a:off x="2733" y="-822"/>
              <a:ext cx="63" cy="13"/>
            </a:xfrm>
            <a:custGeom>
              <a:avLst/>
              <a:gdLst>
                <a:gd name="T0" fmla="*/ 57 w 570"/>
                <a:gd name="T1" fmla="*/ 0 h 115"/>
                <a:gd name="T2" fmla="*/ 512 w 570"/>
                <a:gd name="T3" fmla="*/ 0 h 115"/>
                <a:gd name="T4" fmla="*/ 531 w 570"/>
                <a:gd name="T5" fmla="*/ 3 h 115"/>
                <a:gd name="T6" fmla="*/ 546 w 570"/>
                <a:gd name="T7" fmla="*/ 11 h 115"/>
                <a:gd name="T8" fmla="*/ 559 w 570"/>
                <a:gd name="T9" fmla="*/ 24 h 115"/>
                <a:gd name="T10" fmla="*/ 567 w 570"/>
                <a:gd name="T11" fmla="*/ 39 h 115"/>
                <a:gd name="T12" fmla="*/ 570 w 570"/>
                <a:gd name="T13" fmla="*/ 58 h 115"/>
                <a:gd name="T14" fmla="*/ 567 w 570"/>
                <a:gd name="T15" fmla="*/ 76 h 115"/>
                <a:gd name="T16" fmla="*/ 559 w 570"/>
                <a:gd name="T17" fmla="*/ 91 h 115"/>
                <a:gd name="T18" fmla="*/ 546 w 570"/>
                <a:gd name="T19" fmla="*/ 104 h 115"/>
                <a:gd name="T20" fmla="*/ 530 w 570"/>
                <a:gd name="T21" fmla="*/ 112 h 115"/>
                <a:gd name="T22" fmla="*/ 512 w 570"/>
                <a:gd name="T23" fmla="*/ 115 h 115"/>
                <a:gd name="T24" fmla="*/ 57 w 570"/>
                <a:gd name="T25" fmla="*/ 115 h 115"/>
                <a:gd name="T26" fmla="*/ 39 w 570"/>
                <a:gd name="T27" fmla="*/ 112 h 115"/>
                <a:gd name="T28" fmla="*/ 24 w 570"/>
                <a:gd name="T29" fmla="*/ 104 h 115"/>
                <a:gd name="T30" fmla="*/ 11 w 570"/>
                <a:gd name="T31" fmla="*/ 91 h 115"/>
                <a:gd name="T32" fmla="*/ 3 w 570"/>
                <a:gd name="T33" fmla="*/ 76 h 115"/>
                <a:gd name="T34" fmla="*/ 0 w 570"/>
                <a:gd name="T35" fmla="*/ 58 h 115"/>
                <a:gd name="T36" fmla="*/ 0 w 570"/>
                <a:gd name="T37" fmla="*/ 57 h 115"/>
                <a:gd name="T38" fmla="*/ 3 w 570"/>
                <a:gd name="T39" fmla="*/ 39 h 115"/>
                <a:gd name="T40" fmla="*/ 11 w 570"/>
                <a:gd name="T41" fmla="*/ 24 h 115"/>
                <a:gd name="T42" fmla="*/ 24 w 570"/>
                <a:gd name="T43" fmla="*/ 11 h 115"/>
                <a:gd name="T44" fmla="*/ 39 w 570"/>
                <a:gd name="T45" fmla="*/ 3 h 115"/>
                <a:gd name="T46" fmla="*/ 57 w 570"/>
                <a:gd name="T47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70" h="115">
                  <a:moveTo>
                    <a:pt x="57" y="0"/>
                  </a:moveTo>
                  <a:lnTo>
                    <a:pt x="512" y="0"/>
                  </a:lnTo>
                  <a:lnTo>
                    <a:pt x="531" y="3"/>
                  </a:lnTo>
                  <a:lnTo>
                    <a:pt x="546" y="11"/>
                  </a:lnTo>
                  <a:lnTo>
                    <a:pt x="559" y="24"/>
                  </a:lnTo>
                  <a:lnTo>
                    <a:pt x="567" y="39"/>
                  </a:lnTo>
                  <a:lnTo>
                    <a:pt x="570" y="58"/>
                  </a:lnTo>
                  <a:lnTo>
                    <a:pt x="567" y="76"/>
                  </a:lnTo>
                  <a:lnTo>
                    <a:pt x="559" y="91"/>
                  </a:lnTo>
                  <a:lnTo>
                    <a:pt x="546" y="104"/>
                  </a:lnTo>
                  <a:lnTo>
                    <a:pt x="530" y="112"/>
                  </a:lnTo>
                  <a:lnTo>
                    <a:pt x="512" y="115"/>
                  </a:lnTo>
                  <a:lnTo>
                    <a:pt x="57" y="115"/>
                  </a:lnTo>
                  <a:lnTo>
                    <a:pt x="39" y="112"/>
                  </a:lnTo>
                  <a:lnTo>
                    <a:pt x="24" y="104"/>
                  </a:lnTo>
                  <a:lnTo>
                    <a:pt x="11" y="91"/>
                  </a:lnTo>
                  <a:lnTo>
                    <a:pt x="3" y="76"/>
                  </a:lnTo>
                  <a:lnTo>
                    <a:pt x="0" y="58"/>
                  </a:lnTo>
                  <a:lnTo>
                    <a:pt x="0" y="57"/>
                  </a:lnTo>
                  <a:lnTo>
                    <a:pt x="3" y="39"/>
                  </a:lnTo>
                  <a:lnTo>
                    <a:pt x="11" y="24"/>
                  </a:lnTo>
                  <a:lnTo>
                    <a:pt x="24" y="11"/>
                  </a:lnTo>
                  <a:lnTo>
                    <a:pt x="39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8580" tIns="64292" rIns="128580" bIns="64292" numCol="1" anchor="t" anchorCtr="0" compatLnSpc="1">
              <a:prstTxWarp prst="textNoShape">
                <a:avLst/>
              </a:prstTxWarp>
            </a:bodyPr>
            <a:lstStyle/>
            <a:p>
              <a:pPr defTabSz="1248295"/>
              <a:endParaRPr lang="es-SV" sz="11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1" name="Group 18"/>
          <p:cNvGrpSpPr>
            <a:grpSpLocks noChangeAspect="1"/>
          </p:cNvGrpSpPr>
          <p:nvPr/>
        </p:nvGrpSpPr>
        <p:grpSpPr bwMode="auto">
          <a:xfrm>
            <a:off x="2921453" y="2501231"/>
            <a:ext cx="278254" cy="278240"/>
            <a:chOff x="5807" y="-772"/>
            <a:chExt cx="337" cy="337"/>
          </a:xfrm>
          <a:solidFill>
            <a:schemeClr val="bg1"/>
          </a:solidFill>
        </p:grpSpPr>
        <p:sp>
          <p:nvSpPr>
            <p:cNvPr id="32" name="Freeform 20"/>
            <p:cNvSpPr>
              <a:spLocks noEditPoints="1"/>
            </p:cNvSpPr>
            <p:nvPr/>
          </p:nvSpPr>
          <p:spPr bwMode="auto">
            <a:xfrm>
              <a:off x="5927" y="-652"/>
              <a:ext cx="97" cy="96"/>
            </a:xfrm>
            <a:custGeom>
              <a:avLst/>
              <a:gdLst>
                <a:gd name="T0" fmla="*/ 433 w 961"/>
                <a:gd name="T1" fmla="*/ 131 h 960"/>
                <a:gd name="T2" fmla="*/ 344 w 961"/>
                <a:gd name="T3" fmla="*/ 155 h 960"/>
                <a:gd name="T4" fmla="*/ 266 w 961"/>
                <a:gd name="T5" fmla="*/ 201 h 960"/>
                <a:gd name="T6" fmla="*/ 202 w 961"/>
                <a:gd name="T7" fmla="*/ 264 h 960"/>
                <a:gd name="T8" fmla="*/ 156 w 961"/>
                <a:gd name="T9" fmla="*/ 343 h 960"/>
                <a:gd name="T10" fmla="*/ 131 w 961"/>
                <a:gd name="T11" fmla="*/ 432 h 960"/>
                <a:gd name="T12" fmla="*/ 131 w 961"/>
                <a:gd name="T13" fmla="*/ 528 h 960"/>
                <a:gd name="T14" fmla="*/ 156 w 961"/>
                <a:gd name="T15" fmla="*/ 616 h 960"/>
                <a:gd name="T16" fmla="*/ 202 w 961"/>
                <a:gd name="T17" fmla="*/ 695 h 960"/>
                <a:gd name="T18" fmla="*/ 266 w 961"/>
                <a:gd name="T19" fmla="*/ 758 h 960"/>
                <a:gd name="T20" fmla="*/ 344 w 961"/>
                <a:gd name="T21" fmla="*/ 804 h 960"/>
                <a:gd name="T22" fmla="*/ 433 w 961"/>
                <a:gd name="T23" fmla="*/ 828 h 960"/>
                <a:gd name="T24" fmla="*/ 528 w 961"/>
                <a:gd name="T25" fmla="*/ 828 h 960"/>
                <a:gd name="T26" fmla="*/ 618 w 961"/>
                <a:gd name="T27" fmla="*/ 804 h 960"/>
                <a:gd name="T28" fmla="*/ 696 w 961"/>
                <a:gd name="T29" fmla="*/ 758 h 960"/>
                <a:gd name="T30" fmla="*/ 760 w 961"/>
                <a:gd name="T31" fmla="*/ 695 h 960"/>
                <a:gd name="T32" fmla="*/ 806 w 961"/>
                <a:gd name="T33" fmla="*/ 616 h 960"/>
                <a:gd name="T34" fmla="*/ 830 w 961"/>
                <a:gd name="T35" fmla="*/ 528 h 960"/>
                <a:gd name="T36" fmla="*/ 830 w 961"/>
                <a:gd name="T37" fmla="*/ 432 h 960"/>
                <a:gd name="T38" fmla="*/ 806 w 961"/>
                <a:gd name="T39" fmla="*/ 343 h 960"/>
                <a:gd name="T40" fmla="*/ 760 w 961"/>
                <a:gd name="T41" fmla="*/ 264 h 960"/>
                <a:gd name="T42" fmla="*/ 696 w 961"/>
                <a:gd name="T43" fmla="*/ 201 h 960"/>
                <a:gd name="T44" fmla="*/ 618 w 961"/>
                <a:gd name="T45" fmla="*/ 155 h 960"/>
                <a:gd name="T46" fmla="*/ 528 w 961"/>
                <a:gd name="T47" fmla="*/ 131 h 960"/>
                <a:gd name="T48" fmla="*/ 480 w 961"/>
                <a:gd name="T49" fmla="*/ 0 h 960"/>
                <a:gd name="T50" fmla="*/ 591 w 961"/>
                <a:gd name="T51" fmla="*/ 12 h 960"/>
                <a:gd name="T52" fmla="*/ 691 w 961"/>
                <a:gd name="T53" fmla="*/ 49 h 960"/>
                <a:gd name="T54" fmla="*/ 781 w 961"/>
                <a:gd name="T55" fmla="*/ 105 h 960"/>
                <a:gd name="T56" fmla="*/ 856 w 961"/>
                <a:gd name="T57" fmla="*/ 180 h 960"/>
                <a:gd name="T58" fmla="*/ 912 w 961"/>
                <a:gd name="T59" fmla="*/ 268 h 960"/>
                <a:gd name="T60" fmla="*/ 949 w 961"/>
                <a:gd name="T61" fmla="*/ 370 h 960"/>
                <a:gd name="T62" fmla="*/ 961 w 961"/>
                <a:gd name="T63" fmla="*/ 480 h 960"/>
                <a:gd name="T64" fmla="*/ 949 w 961"/>
                <a:gd name="T65" fmla="*/ 590 h 960"/>
                <a:gd name="T66" fmla="*/ 912 w 961"/>
                <a:gd name="T67" fmla="*/ 691 h 960"/>
                <a:gd name="T68" fmla="*/ 856 w 961"/>
                <a:gd name="T69" fmla="*/ 779 h 960"/>
                <a:gd name="T70" fmla="*/ 781 w 961"/>
                <a:gd name="T71" fmla="*/ 854 h 960"/>
                <a:gd name="T72" fmla="*/ 691 w 961"/>
                <a:gd name="T73" fmla="*/ 911 h 960"/>
                <a:gd name="T74" fmla="*/ 591 w 961"/>
                <a:gd name="T75" fmla="*/ 947 h 960"/>
                <a:gd name="T76" fmla="*/ 480 w 961"/>
                <a:gd name="T77" fmla="*/ 960 h 960"/>
                <a:gd name="T78" fmla="*/ 370 w 961"/>
                <a:gd name="T79" fmla="*/ 947 h 960"/>
                <a:gd name="T80" fmla="*/ 270 w 961"/>
                <a:gd name="T81" fmla="*/ 911 h 960"/>
                <a:gd name="T82" fmla="*/ 181 w 961"/>
                <a:gd name="T83" fmla="*/ 854 h 960"/>
                <a:gd name="T84" fmla="*/ 106 w 961"/>
                <a:gd name="T85" fmla="*/ 779 h 960"/>
                <a:gd name="T86" fmla="*/ 49 w 961"/>
                <a:gd name="T87" fmla="*/ 691 h 960"/>
                <a:gd name="T88" fmla="*/ 13 w 961"/>
                <a:gd name="T89" fmla="*/ 590 h 960"/>
                <a:gd name="T90" fmla="*/ 0 w 961"/>
                <a:gd name="T91" fmla="*/ 480 h 960"/>
                <a:gd name="T92" fmla="*/ 13 w 961"/>
                <a:gd name="T93" fmla="*/ 370 h 960"/>
                <a:gd name="T94" fmla="*/ 49 w 961"/>
                <a:gd name="T95" fmla="*/ 268 h 960"/>
                <a:gd name="T96" fmla="*/ 106 w 961"/>
                <a:gd name="T97" fmla="*/ 180 h 960"/>
                <a:gd name="T98" fmla="*/ 181 w 961"/>
                <a:gd name="T99" fmla="*/ 105 h 960"/>
                <a:gd name="T100" fmla="*/ 270 w 961"/>
                <a:gd name="T101" fmla="*/ 49 h 960"/>
                <a:gd name="T102" fmla="*/ 370 w 961"/>
                <a:gd name="T103" fmla="*/ 12 h 960"/>
                <a:gd name="T104" fmla="*/ 480 w 961"/>
                <a:gd name="T105" fmla="*/ 0 h 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61" h="960">
                  <a:moveTo>
                    <a:pt x="480" y="128"/>
                  </a:moveTo>
                  <a:lnTo>
                    <a:pt x="433" y="131"/>
                  </a:lnTo>
                  <a:lnTo>
                    <a:pt x="387" y="140"/>
                  </a:lnTo>
                  <a:lnTo>
                    <a:pt x="344" y="155"/>
                  </a:lnTo>
                  <a:lnTo>
                    <a:pt x="303" y="176"/>
                  </a:lnTo>
                  <a:lnTo>
                    <a:pt x="266" y="201"/>
                  </a:lnTo>
                  <a:lnTo>
                    <a:pt x="232" y="231"/>
                  </a:lnTo>
                  <a:lnTo>
                    <a:pt x="202" y="264"/>
                  </a:lnTo>
                  <a:lnTo>
                    <a:pt x="176" y="302"/>
                  </a:lnTo>
                  <a:lnTo>
                    <a:pt x="156" y="343"/>
                  </a:lnTo>
                  <a:lnTo>
                    <a:pt x="141" y="386"/>
                  </a:lnTo>
                  <a:lnTo>
                    <a:pt x="131" y="432"/>
                  </a:lnTo>
                  <a:lnTo>
                    <a:pt x="128" y="480"/>
                  </a:lnTo>
                  <a:lnTo>
                    <a:pt x="131" y="528"/>
                  </a:lnTo>
                  <a:lnTo>
                    <a:pt x="141" y="574"/>
                  </a:lnTo>
                  <a:lnTo>
                    <a:pt x="156" y="616"/>
                  </a:lnTo>
                  <a:lnTo>
                    <a:pt x="176" y="658"/>
                  </a:lnTo>
                  <a:lnTo>
                    <a:pt x="202" y="695"/>
                  </a:lnTo>
                  <a:lnTo>
                    <a:pt x="232" y="728"/>
                  </a:lnTo>
                  <a:lnTo>
                    <a:pt x="266" y="758"/>
                  </a:lnTo>
                  <a:lnTo>
                    <a:pt x="303" y="784"/>
                  </a:lnTo>
                  <a:lnTo>
                    <a:pt x="344" y="804"/>
                  </a:lnTo>
                  <a:lnTo>
                    <a:pt x="387" y="819"/>
                  </a:lnTo>
                  <a:lnTo>
                    <a:pt x="433" y="828"/>
                  </a:lnTo>
                  <a:lnTo>
                    <a:pt x="480" y="832"/>
                  </a:lnTo>
                  <a:lnTo>
                    <a:pt x="528" y="828"/>
                  </a:lnTo>
                  <a:lnTo>
                    <a:pt x="574" y="819"/>
                  </a:lnTo>
                  <a:lnTo>
                    <a:pt x="618" y="804"/>
                  </a:lnTo>
                  <a:lnTo>
                    <a:pt x="658" y="784"/>
                  </a:lnTo>
                  <a:lnTo>
                    <a:pt x="696" y="758"/>
                  </a:lnTo>
                  <a:lnTo>
                    <a:pt x="730" y="728"/>
                  </a:lnTo>
                  <a:lnTo>
                    <a:pt x="760" y="695"/>
                  </a:lnTo>
                  <a:lnTo>
                    <a:pt x="785" y="658"/>
                  </a:lnTo>
                  <a:lnTo>
                    <a:pt x="806" y="616"/>
                  </a:lnTo>
                  <a:lnTo>
                    <a:pt x="821" y="574"/>
                  </a:lnTo>
                  <a:lnTo>
                    <a:pt x="830" y="528"/>
                  </a:lnTo>
                  <a:lnTo>
                    <a:pt x="833" y="480"/>
                  </a:lnTo>
                  <a:lnTo>
                    <a:pt x="830" y="432"/>
                  </a:lnTo>
                  <a:lnTo>
                    <a:pt x="821" y="386"/>
                  </a:lnTo>
                  <a:lnTo>
                    <a:pt x="806" y="343"/>
                  </a:lnTo>
                  <a:lnTo>
                    <a:pt x="785" y="302"/>
                  </a:lnTo>
                  <a:lnTo>
                    <a:pt x="760" y="264"/>
                  </a:lnTo>
                  <a:lnTo>
                    <a:pt x="730" y="231"/>
                  </a:lnTo>
                  <a:lnTo>
                    <a:pt x="696" y="201"/>
                  </a:lnTo>
                  <a:lnTo>
                    <a:pt x="658" y="176"/>
                  </a:lnTo>
                  <a:lnTo>
                    <a:pt x="618" y="155"/>
                  </a:lnTo>
                  <a:lnTo>
                    <a:pt x="574" y="140"/>
                  </a:lnTo>
                  <a:lnTo>
                    <a:pt x="528" y="131"/>
                  </a:lnTo>
                  <a:lnTo>
                    <a:pt x="480" y="128"/>
                  </a:lnTo>
                  <a:close/>
                  <a:moveTo>
                    <a:pt x="480" y="0"/>
                  </a:moveTo>
                  <a:lnTo>
                    <a:pt x="537" y="3"/>
                  </a:lnTo>
                  <a:lnTo>
                    <a:pt x="591" y="12"/>
                  </a:lnTo>
                  <a:lnTo>
                    <a:pt x="642" y="27"/>
                  </a:lnTo>
                  <a:lnTo>
                    <a:pt x="691" y="49"/>
                  </a:lnTo>
                  <a:lnTo>
                    <a:pt x="738" y="74"/>
                  </a:lnTo>
                  <a:lnTo>
                    <a:pt x="781" y="105"/>
                  </a:lnTo>
                  <a:lnTo>
                    <a:pt x="821" y="140"/>
                  </a:lnTo>
                  <a:lnTo>
                    <a:pt x="856" y="180"/>
                  </a:lnTo>
                  <a:lnTo>
                    <a:pt x="887" y="223"/>
                  </a:lnTo>
                  <a:lnTo>
                    <a:pt x="912" y="268"/>
                  </a:lnTo>
                  <a:lnTo>
                    <a:pt x="933" y="318"/>
                  </a:lnTo>
                  <a:lnTo>
                    <a:pt x="949" y="370"/>
                  </a:lnTo>
                  <a:lnTo>
                    <a:pt x="958" y="424"/>
                  </a:lnTo>
                  <a:lnTo>
                    <a:pt x="961" y="480"/>
                  </a:lnTo>
                  <a:lnTo>
                    <a:pt x="958" y="535"/>
                  </a:lnTo>
                  <a:lnTo>
                    <a:pt x="949" y="590"/>
                  </a:lnTo>
                  <a:lnTo>
                    <a:pt x="933" y="642"/>
                  </a:lnTo>
                  <a:lnTo>
                    <a:pt x="912" y="691"/>
                  </a:lnTo>
                  <a:lnTo>
                    <a:pt x="887" y="737"/>
                  </a:lnTo>
                  <a:lnTo>
                    <a:pt x="856" y="779"/>
                  </a:lnTo>
                  <a:lnTo>
                    <a:pt x="821" y="819"/>
                  </a:lnTo>
                  <a:lnTo>
                    <a:pt x="781" y="854"/>
                  </a:lnTo>
                  <a:lnTo>
                    <a:pt x="738" y="885"/>
                  </a:lnTo>
                  <a:lnTo>
                    <a:pt x="691" y="911"/>
                  </a:lnTo>
                  <a:lnTo>
                    <a:pt x="642" y="932"/>
                  </a:lnTo>
                  <a:lnTo>
                    <a:pt x="591" y="947"/>
                  </a:lnTo>
                  <a:lnTo>
                    <a:pt x="537" y="956"/>
                  </a:lnTo>
                  <a:lnTo>
                    <a:pt x="480" y="960"/>
                  </a:lnTo>
                  <a:lnTo>
                    <a:pt x="425" y="956"/>
                  </a:lnTo>
                  <a:lnTo>
                    <a:pt x="370" y="947"/>
                  </a:lnTo>
                  <a:lnTo>
                    <a:pt x="319" y="932"/>
                  </a:lnTo>
                  <a:lnTo>
                    <a:pt x="270" y="911"/>
                  </a:lnTo>
                  <a:lnTo>
                    <a:pt x="223" y="885"/>
                  </a:lnTo>
                  <a:lnTo>
                    <a:pt x="181" y="854"/>
                  </a:lnTo>
                  <a:lnTo>
                    <a:pt x="141" y="819"/>
                  </a:lnTo>
                  <a:lnTo>
                    <a:pt x="106" y="779"/>
                  </a:lnTo>
                  <a:lnTo>
                    <a:pt x="75" y="737"/>
                  </a:lnTo>
                  <a:lnTo>
                    <a:pt x="49" y="691"/>
                  </a:lnTo>
                  <a:lnTo>
                    <a:pt x="28" y="642"/>
                  </a:lnTo>
                  <a:lnTo>
                    <a:pt x="13" y="590"/>
                  </a:lnTo>
                  <a:lnTo>
                    <a:pt x="3" y="535"/>
                  </a:lnTo>
                  <a:lnTo>
                    <a:pt x="0" y="480"/>
                  </a:lnTo>
                  <a:lnTo>
                    <a:pt x="3" y="424"/>
                  </a:lnTo>
                  <a:lnTo>
                    <a:pt x="13" y="370"/>
                  </a:lnTo>
                  <a:lnTo>
                    <a:pt x="28" y="318"/>
                  </a:lnTo>
                  <a:lnTo>
                    <a:pt x="49" y="268"/>
                  </a:lnTo>
                  <a:lnTo>
                    <a:pt x="75" y="223"/>
                  </a:lnTo>
                  <a:lnTo>
                    <a:pt x="106" y="180"/>
                  </a:lnTo>
                  <a:lnTo>
                    <a:pt x="141" y="140"/>
                  </a:lnTo>
                  <a:lnTo>
                    <a:pt x="181" y="105"/>
                  </a:lnTo>
                  <a:lnTo>
                    <a:pt x="223" y="74"/>
                  </a:lnTo>
                  <a:lnTo>
                    <a:pt x="270" y="49"/>
                  </a:lnTo>
                  <a:lnTo>
                    <a:pt x="319" y="27"/>
                  </a:lnTo>
                  <a:lnTo>
                    <a:pt x="370" y="12"/>
                  </a:lnTo>
                  <a:lnTo>
                    <a:pt x="425" y="3"/>
                  </a:lnTo>
                  <a:lnTo>
                    <a:pt x="48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8580" tIns="64292" rIns="128580" bIns="64292" numCol="1" anchor="t" anchorCtr="0" compatLnSpc="1">
              <a:prstTxWarp prst="textNoShape">
                <a:avLst/>
              </a:prstTxWarp>
            </a:bodyPr>
            <a:lstStyle/>
            <a:p>
              <a:pPr defTabSz="1248295"/>
              <a:endParaRPr lang="es-SV" sz="11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33" name="Freeform 21"/>
            <p:cNvSpPr>
              <a:spLocks/>
            </p:cNvSpPr>
            <p:nvPr/>
          </p:nvSpPr>
          <p:spPr bwMode="auto">
            <a:xfrm>
              <a:off x="5969" y="-691"/>
              <a:ext cx="94" cy="94"/>
            </a:xfrm>
            <a:custGeom>
              <a:avLst/>
              <a:gdLst>
                <a:gd name="T0" fmla="*/ 64 w 940"/>
                <a:gd name="T1" fmla="*/ 0 h 939"/>
                <a:gd name="T2" fmla="*/ 140 w 940"/>
                <a:gd name="T3" fmla="*/ 3 h 939"/>
                <a:gd name="T4" fmla="*/ 214 w 940"/>
                <a:gd name="T5" fmla="*/ 13 h 939"/>
                <a:gd name="T6" fmla="*/ 285 w 940"/>
                <a:gd name="T7" fmla="*/ 28 h 939"/>
                <a:gd name="T8" fmla="*/ 354 w 940"/>
                <a:gd name="T9" fmla="*/ 49 h 939"/>
                <a:gd name="T10" fmla="*/ 422 w 940"/>
                <a:gd name="T11" fmla="*/ 76 h 939"/>
                <a:gd name="T12" fmla="*/ 486 w 940"/>
                <a:gd name="T13" fmla="*/ 108 h 939"/>
                <a:gd name="T14" fmla="*/ 546 w 940"/>
                <a:gd name="T15" fmla="*/ 145 h 939"/>
                <a:gd name="T16" fmla="*/ 604 w 940"/>
                <a:gd name="T17" fmla="*/ 187 h 939"/>
                <a:gd name="T18" fmla="*/ 657 w 940"/>
                <a:gd name="T19" fmla="*/ 233 h 939"/>
                <a:gd name="T20" fmla="*/ 707 w 940"/>
                <a:gd name="T21" fmla="*/ 282 h 939"/>
                <a:gd name="T22" fmla="*/ 753 w 940"/>
                <a:gd name="T23" fmla="*/ 336 h 939"/>
                <a:gd name="T24" fmla="*/ 795 w 940"/>
                <a:gd name="T25" fmla="*/ 394 h 939"/>
                <a:gd name="T26" fmla="*/ 831 w 940"/>
                <a:gd name="T27" fmla="*/ 454 h 939"/>
                <a:gd name="T28" fmla="*/ 863 w 940"/>
                <a:gd name="T29" fmla="*/ 518 h 939"/>
                <a:gd name="T30" fmla="*/ 890 w 940"/>
                <a:gd name="T31" fmla="*/ 585 h 939"/>
                <a:gd name="T32" fmla="*/ 911 w 940"/>
                <a:gd name="T33" fmla="*/ 654 h 939"/>
                <a:gd name="T34" fmla="*/ 927 w 940"/>
                <a:gd name="T35" fmla="*/ 725 h 939"/>
                <a:gd name="T36" fmla="*/ 936 w 940"/>
                <a:gd name="T37" fmla="*/ 799 h 939"/>
                <a:gd name="T38" fmla="*/ 940 w 940"/>
                <a:gd name="T39" fmla="*/ 875 h 939"/>
                <a:gd name="T40" fmla="*/ 936 w 940"/>
                <a:gd name="T41" fmla="*/ 895 h 939"/>
                <a:gd name="T42" fmla="*/ 927 w 940"/>
                <a:gd name="T43" fmla="*/ 912 h 939"/>
                <a:gd name="T44" fmla="*/ 913 w 940"/>
                <a:gd name="T45" fmla="*/ 926 h 939"/>
                <a:gd name="T46" fmla="*/ 895 w 940"/>
                <a:gd name="T47" fmla="*/ 935 h 939"/>
                <a:gd name="T48" fmla="*/ 875 w 940"/>
                <a:gd name="T49" fmla="*/ 939 h 939"/>
                <a:gd name="T50" fmla="*/ 855 w 940"/>
                <a:gd name="T51" fmla="*/ 935 h 939"/>
                <a:gd name="T52" fmla="*/ 838 w 940"/>
                <a:gd name="T53" fmla="*/ 926 h 939"/>
                <a:gd name="T54" fmla="*/ 824 w 940"/>
                <a:gd name="T55" fmla="*/ 912 h 939"/>
                <a:gd name="T56" fmla="*/ 814 w 940"/>
                <a:gd name="T57" fmla="*/ 895 h 939"/>
                <a:gd name="T58" fmla="*/ 811 w 940"/>
                <a:gd name="T59" fmla="*/ 875 h 939"/>
                <a:gd name="T60" fmla="*/ 808 w 940"/>
                <a:gd name="T61" fmla="*/ 806 h 939"/>
                <a:gd name="T62" fmla="*/ 799 w 940"/>
                <a:gd name="T63" fmla="*/ 740 h 939"/>
                <a:gd name="T64" fmla="*/ 784 w 940"/>
                <a:gd name="T65" fmla="*/ 676 h 939"/>
                <a:gd name="T66" fmla="*/ 764 w 940"/>
                <a:gd name="T67" fmla="*/ 614 h 939"/>
                <a:gd name="T68" fmla="*/ 739 w 940"/>
                <a:gd name="T69" fmla="*/ 555 h 939"/>
                <a:gd name="T70" fmla="*/ 710 w 940"/>
                <a:gd name="T71" fmla="*/ 498 h 939"/>
                <a:gd name="T72" fmla="*/ 674 w 940"/>
                <a:gd name="T73" fmla="*/ 445 h 939"/>
                <a:gd name="T74" fmla="*/ 636 w 940"/>
                <a:gd name="T75" fmla="*/ 394 h 939"/>
                <a:gd name="T76" fmla="*/ 592 w 940"/>
                <a:gd name="T77" fmla="*/ 347 h 939"/>
                <a:gd name="T78" fmla="*/ 545 w 940"/>
                <a:gd name="T79" fmla="*/ 304 h 939"/>
                <a:gd name="T80" fmla="*/ 495 w 940"/>
                <a:gd name="T81" fmla="*/ 265 h 939"/>
                <a:gd name="T82" fmla="*/ 441 w 940"/>
                <a:gd name="T83" fmla="*/ 230 h 939"/>
                <a:gd name="T84" fmla="*/ 384 w 940"/>
                <a:gd name="T85" fmla="*/ 201 h 939"/>
                <a:gd name="T86" fmla="*/ 325 w 940"/>
                <a:gd name="T87" fmla="*/ 175 h 939"/>
                <a:gd name="T88" fmla="*/ 263 w 940"/>
                <a:gd name="T89" fmla="*/ 155 h 939"/>
                <a:gd name="T90" fmla="*/ 199 w 940"/>
                <a:gd name="T91" fmla="*/ 140 h 939"/>
                <a:gd name="T92" fmla="*/ 133 w 940"/>
                <a:gd name="T93" fmla="*/ 131 h 939"/>
                <a:gd name="T94" fmla="*/ 64 w 940"/>
                <a:gd name="T95" fmla="*/ 128 h 939"/>
                <a:gd name="T96" fmla="*/ 45 w 940"/>
                <a:gd name="T97" fmla="*/ 125 h 939"/>
                <a:gd name="T98" fmla="*/ 27 w 940"/>
                <a:gd name="T99" fmla="*/ 116 h 939"/>
                <a:gd name="T100" fmla="*/ 13 w 940"/>
                <a:gd name="T101" fmla="*/ 102 h 939"/>
                <a:gd name="T102" fmla="*/ 5 w 940"/>
                <a:gd name="T103" fmla="*/ 84 h 939"/>
                <a:gd name="T104" fmla="*/ 0 w 940"/>
                <a:gd name="T105" fmla="*/ 64 h 939"/>
                <a:gd name="T106" fmla="*/ 5 w 940"/>
                <a:gd name="T107" fmla="*/ 44 h 939"/>
                <a:gd name="T108" fmla="*/ 13 w 940"/>
                <a:gd name="T109" fmla="*/ 27 h 939"/>
                <a:gd name="T110" fmla="*/ 27 w 940"/>
                <a:gd name="T111" fmla="*/ 13 h 939"/>
                <a:gd name="T112" fmla="*/ 45 w 940"/>
                <a:gd name="T113" fmla="*/ 3 h 939"/>
                <a:gd name="T114" fmla="*/ 64 w 940"/>
                <a:gd name="T115" fmla="*/ 0 h 9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940" h="939">
                  <a:moveTo>
                    <a:pt x="64" y="0"/>
                  </a:moveTo>
                  <a:lnTo>
                    <a:pt x="140" y="3"/>
                  </a:lnTo>
                  <a:lnTo>
                    <a:pt x="214" y="13"/>
                  </a:lnTo>
                  <a:lnTo>
                    <a:pt x="285" y="28"/>
                  </a:lnTo>
                  <a:lnTo>
                    <a:pt x="354" y="49"/>
                  </a:lnTo>
                  <a:lnTo>
                    <a:pt x="422" y="76"/>
                  </a:lnTo>
                  <a:lnTo>
                    <a:pt x="486" y="108"/>
                  </a:lnTo>
                  <a:lnTo>
                    <a:pt x="546" y="145"/>
                  </a:lnTo>
                  <a:lnTo>
                    <a:pt x="604" y="187"/>
                  </a:lnTo>
                  <a:lnTo>
                    <a:pt x="657" y="233"/>
                  </a:lnTo>
                  <a:lnTo>
                    <a:pt x="707" y="282"/>
                  </a:lnTo>
                  <a:lnTo>
                    <a:pt x="753" y="336"/>
                  </a:lnTo>
                  <a:lnTo>
                    <a:pt x="795" y="394"/>
                  </a:lnTo>
                  <a:lnTo>
                    <a:pt x="831" y="454"/>
                  </a:lnTo>
                  <a:lnTo>
                    <a:pt x="863" y="518"/>
                  </a:lnTo>
                  <a:lnTo>
                    <a:pt x="890" y="585"/>
                  </a:lnTo>
                  <a:lnTo>
                    <a:pt x="911" y="654"/>
                  </a:lnTo>
                  <a:lnTo>
                    <a:pt x="927" y="725"/>
                  </a:lnTo>
                  <a:lnTo>
                    <a:pt x="936" y="799"/>
                  </a:lnTo>
                  <a:lnTo>
                    <a:pt x="940" y="875"/>
                  </a:lnTo>
                  <a:lnTo>
                    <a:pt x="936" y="895"/>
                  </a:lnTo>
                  <a:lnTo>
                    <a:pt x="927" y="912"/>
                  </a:lnTo>
                  <a:lnTo>
                    <a:pt x="913" y="926"/>
                  </a:lnTo>
                  <a:lnTo>
                    <a:pt x="895" y="935"/>
                  </a:lnTo>
                  <a:lnTo>
                    <a:pt x="875" y="939"/>
                  </a:lnTo>
                  <a:lnTo>
                    <a:pt x="855" y="935"/>
                  </a:lnTo>
                  <a:lnTo>
                    <a:pt x="838" y="926"/>
                  </a:lnTo>
                  <a:lnTo>
                    <a:pt x="824" y="912"/>
                  </a:lnTo>
                  <a:lnTo>
                    <a:pt x="814" y="895"/>
                  </a:lnTo>
                  <a:lnTo>
                    <a:pt x="811" y="875"/>
                  </a:lnTo>
                  <a:lnTo>
                    <a:pt x="808" y="806"/>
                  </a:lnTo>
                  <a:lnTo>
                    <a:pt x="799" y="740"/>
                  </a:lnTo>
                  <a:lnTo>
                    <a:pt x="784" y="676"/>
                  </a:lnTo>
                  <a:lnTo>
                    <a:pt x="764" y="614"/>
                  </a:lnTo>
                  <a:lnTo>
                    <a:pt x="739" y="555"/>
                  </a:lnTo>
                  <a:lnTo>
                    <a:pt x="710" y="498"/>
                  </a:lnTo>
                  <a:lnTo>
                    <a:pt x="674" y="445"/>
                  </a:lnTo>
                  <a:lnTo>
                    <a:pt x="636" y="394"/>
                  </a:lnTo>
                  <a:lnTo>
                    <a:pt x="592" y="347"/>
                  </a:lnTo>
                  <a:lnTo>
                    <a:pt x="545" y="304"/>
                  </a:lnTo>
                  <a:lnTo>
                    <a:pt x="495" y="265"/>
                  </a:lnTo>
                  <a:lnTo>
                    <a:pt x="441" y="230"/>
                  </a:lnTo>
                  <a:lnTo>
                    <a:pt x="384" y="201"/>
                  </a:lnTo>
                  <a:lnTo>
                    <a:pt x="325" y="175"/>
                  </a:lnTo>
                  <a:lnTo>
                    <a:pt x="263" y="155"/>
                  </a:lnTo>
                  <a:lnTo>
                    <a:pt x="199" y="140"/>
                  </a:lnTo>
                  <a:lnTo>
                    <a:pt x="133" y="131"/>
                  </a:lnTo>
                  <a:lnTo>
                    <a:pt x="64" y="128"/>
                  </a:lnTo>
                  <a:lnTo>
                    <a:pt x="45" y="125"/>
                  </a:lnTo>
                  <a:lnTo>
                    <a:pt x="27" y="116"/>
                  </a:lnTo>
                  <a:lnTo>
                    <a:pt x="13" y="102"/>
                  </a:lnTo>
                  <a:lnTo>
                    <a:pt x="5" y="84"/>
                  </a:lnTo>
                  <a:lnTo>
                    <a:pt x="0" y="64"/>
                  </a:lnTo>
                  <a:lnTo>
                    <a:pt x="5" y="44"/>
                  </a:lnTo>
                  <a:lnTo>
                    <a:pt x="13" y="27"/>
                  </a:lnTo>
                  <a:lnTo>
                    <a:pt x="27" y="13"/>
                  </a:lnTo>
                  <a:lnTo>
                    <a:pt x="45" y="3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8580" tIns="64292" rIns="128580" bIns="64292" numCol="1" anchor="t" anchorCtr="0" compatLnSpc="1">
              <a:prstTxWarp prst="textNoShape">
                <a:avLst/>
              </a:prstTxWarp>
            </a:bodyPr>
            <a:lstStyle/>
            <a:p>
              <a:pPr defTabSz="1248295"/>
              <a:endParaRPr lang="es-SV" sz="11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34" name="Freeform 22"/>
            <p:cNvSpPr>
              <a:spLocks/>
            </p:cNvSpPr>
            <p:nvPr/>
          </p:nvSpPr>
          <p:spPr bwMode="auto">
            <a:xfrm>
              <a:off x="5888" y="-610"/>
              <a:ext cx="94" cy="94"/>
            </a:xfrm>
            <a:custGeom>
              <a:avLst/>
              <a:gdLst>
                <a:gd name="T0" fmla="*/ 65 w 939"/>
                <a:gd name="T1" fmla="*/ 0 h 938"/>
                <a:gd name="T2" fmla="*/ 84 w 939"/>
                <a:gd name="T3" fmla="*/ 3 h 938"/>
                <a:gd name="T4" fmla="*/ 102 w 939"/>
                <a:gd name="T5" fmla="*/ 12 h 938"/>
                <a:gd name="T6" fmla="*/ 116 w 939"/>
                <a:gd name="T7" fmla="*/ 26 h 938"/>
                <a:gd name="T8" fmla="*/ 124 w 939"/>
                <a:gd name="T9" fmla="*/ 43 h 938"/>
                <a:gd name="T10" fmla="*/ 129 w 939"/>
                <a:gd name="T11" fmla="*/ 64 h 938"/>
                <a:gd name="T12" fmla="*/ 131 w 939"/>
                <a:gd name="T13" fmla="*/ 132 h 938"/>
                <a:gd name="T14" fmla="*/ 140 w 939"/>
                <a:gd name="T15" fmla="*/ 198 h 938"/>
                <a:gd name="T16" fmla="*/ 155 w 939"/>
                <a:gd name="T17" fmla="*/ 262 h 938"/>
                <a:gd name="T18" fmla="*/ 175 w 939"/>
                <a:gd name="T19" fmla="*/ 324 h 938"/>
                <a:gd name="T20" fmla="*/ 200 w 939"/>
                <a:gd name="T21" fmla="*/ 384 h 938"/>
                <a:gd name="T22" fmla="*/ 230 w 939"/>
                <a:gd name="T23" fmla="*/ 440 h 938"/>
                <a:gd name="T24" fmla="*/ 265 w 939"/>
                <a:gd name="T25" fmla="*/ 494 h 938"/>
                <a:gd name="T26" fmla="*/ 304 w 939"/>
                <a:gd name="T27" fmla="*/ 545 h 938"/>
                <a:gd name="T28" fmla="*/ 347 w 939"/>
                <a:gd name="T29" fmla="*/ 592 h 938"/>
                <a:gd name="T30" fmla="*/ 394 w 939"/>
                <a:gd name="T31" fmla="*/ 634 h 938"/>
                <a:gd name="T32" fmla="*/ 444 w 939"/>
                <a:gd name="T33" fmla="*/ 674 h 938"/>
                <a:gd name="T34" fmla="*/ 499 w 939"/>
                <a:gd name="T35" fmla="*/ 708 h 938"/>
                <a:gd name="T36" fmla="*/ 555 w 939"/>
                <a:gd name="T37" fmla="*/ 738 h 938"/>
                <a:gd name="T38" fmla="*/ 615 w 939"/>
                <a:gd name="T39" fmla="*/ 763 h 938"/>
                <a:gd name="T40" fmla="*/ 677 w 939"/>
                <a:gd name="T41" fmla="*/ 784 h 938"/>
                <a:gd name="T42" fmla="*/ 741 w 939"/>
                <a:gd name="T43" fmla="*/ 799 h 938"/>
                <a:gd name="T44" fmla="*/ 807 w 939"/>
                <a:gd name="T45" fmla="*/ 807 h 938"/>
                <a:gd name="T46" fmla="*/ 874 w 939"/>
                <a:gd name="T47" fmla="*/ 810 h 938"/>
                <a:gd name="T48" fmla="*/ 895 w 939"/>
                <a:gd name="T49" fmla="*/ 814 h 938"/>
                <a:gd name="T50" fmla="*/ 913 w 939"/>
                <a:gd name="T51" fmla="*/ 823 h 938"/>
                <a:gd name="T52" fmla="*/ 927 w 939"/>
                <a:gd name="T53" fmla="*/ 837 h 938"/>
                <a:gd name="T54" fmla="*/ 935 w 939"/>
                <a:gd name="T55" fmla="*/ 854 h 938"/>
                <a:gd name="T56" fmla="*/ 939 w 939"/>
                <a:gd name="T57" fmla="*/ 874 h 938"/>
                <a:gd name="T58" fmla="*/ 935 w 939"/>
                <a:gd name="T59" fmla="*/ 895 h 938"/>
                <a:gd name="T60" fmla="*/ 927 w 939"/>
                <a:gd name="T61" fmla="*/ 912 h 938"/>
                <a:gd name="T62" fmla="*/ 913 w 939"/>
                <a:gd name="T63" fmla="*/ 926 h 938"/>
                <a:gd name="T64" fmla="*/ 895 w 939"/>
                <a:gd name="T65" fmla="*/ 935 h 938"/>
                <a:gd name="T66" fmla="*/ 874 w 939"/>
                <a:gd name="T67" fmla="*/ 938 h 938"/>
                <a:gd name="T68" fmla="*/ 800 w 939"/>
                <a:gd name="T69" fmla="*/ 935 h 938"/>
                <a:gd name="T70" fmla="*/ 726 w 939"/>
                <a:gd name="T71" fmla="*/ 926 h 938"/>
                <a:gd name="T72" fmla="*/ 655 w 939"/>
                <a:gd name="T73" fmla="*/ 911 h 938"/>
                <a:gd name="T74" fmla="*/ 585 w 939"/>
                <a:gd name="T75" fmla="*/ 889 h 938"/>
                <a:gd name="T76" fmla="*/ 518 w 939"/>
                <a:gd name="T77" fmla="*/ 863 h 938"/>
                <a:gd name="T78" fmla="*/ 454 w 939"/>
                <a:gd name="T79" fmla="*/ 831 h 938"/>
                <a:gd name="T80" fmla="*/ 393 w 939"/>
                <a:gd name="T81" fmla="*/ 793 h 938"/>
                <a:gd name="T82" fmla="*/ 336 w 939"/>
                <a:gd name="T83" fmla="*/ 753 h 938"/>
                <a:gd name="T84" fmla="*/ 282 w 939"/>
                <a:gd name="T85" fmla="*/ 707 h 938"/>
                <a:gd name="T86" fmla="*/ 232 w 939"/>
                <a:gd name="T87" fmla="*/ 657 h 938"/>
                <a:gd name="T88" fmla="*/ 186 w 939"/>
                <a:gd name="T89" fmla="*/ 602 h 938"/>
                <a:gd name="T90" fmla="*/ 145 w 939"/>
                <a:gd name="T91" fmla="*/ 545 h 938"/>
                <a:gd name="T92" fmla="*/ 108 w 939"/>
                <a:gd name="T93" fmla="*/ 484 h 938"/>
                <a:gd name="T94" fmla="*/ 76 w 939"/>
                <a:gd name="T95" fmla="*/ 420 h 938"/>
                <a:gd name="T96" fmla="*/ 50 w 939"/>
                <a:gd name="T97" fmla="*/ 354 h 938"/>
                <a:gd name="T98" fmla="*/ 28 w 939"/>
                <a:gd name="T99" fmla="*/ 284 h 938"/>
                <a:gd name="T100" fmla="*/ 12 w 939"/>
                <a:gd name="T101" fmla="*/ 213 h 938"/>
                <a:gd name="T102" fmla="*/ 3 w 939"/>
                <a:gd name="T103" fmla="*/ 139 h 938"/>
                <a:gd name="T104" fmla="*/ 0 w 939"/>
                <a:gd name="T105" fmla="*/ 64 h 938"/>
                <a:gd name="T106" fmla="*/ 4 w 939"/>
                <a:gd name="T107" fmla="*/ 43 h 938"/>
                <a:gd name="T108" fmla="*/ 12 w 939"/>
                <a:gd name="T109" fmla="*/ 26 h 938"/>
                <a:gd name="T110" fmla="*/ 26 w 939"/>
                <a:gd name="T111" fmla="*/ 12 h 938"/>
                <a:gd name="T112" fmla="*/ 44 w 939"/>
                <a:gd name="T113" fmla="*/ 3 h 938"/>
                <a:gd name="T114" fmla="*/ 65 w 939"/>
                <a:gd name="T115" fmla="*/ 0 h 9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939" h="938">
                  <a:moveTo>
                    <a:pt x="65" y="0"/>
                  </a:moveTo>
                  <a:lnTo>
                    <a:pt x="84" y="3"/>
                  </a:lnTo>
                  <a:lnTo>
                    <a:pt x="102" y="12"/>
                  </a:lnTo>
                  <a:lnTo>
                    <a:pt x="116" y="26"/>
                  </a:lnTo>
                  <a:lnTo>
                    <a:pt x="124" y="43"/>
                  </a:lnTo>
                  <a:lnTo>
                    <a:pt x="129" y="64"/>
                  </a:lnTo>
                  <a:lnTo>
                    <a:pt x="131" y="132"/>
                  </a:lnTo>
                  <a:lnTo>
                    <a:pt x="140" y="198"/>
                  </a:lnTo>
                  <a:lnTo>
                    <a:pt x="155" y="262"/>
                  </a:lnTo>
                  <a:lnTo>
                    <a:pt x="175" y="324"/>
                  </a:lnTo>
                  <a:lnTo>
                    <a:pt x="200" y="384"/>
                  </a:lnTo>
                  <a:lnTo>
                    <a:pt x="230" y="440"/>
                  </a:lnTo>
                  <a:lnTo>
                    <a:pt x="265" y="494"/>
                  </a:lnTo>
                  <a:lnTo>
                    <a:pt x="304" y="545"/>
                  </a:lnTo>
                  <a:lnTo>
                    <a:pt x="347" y="592"/>
                  </a:lnTo>
                  <a:lnTo>
                    <a:pt x="394" y="634"/>
                  </a:lnTo>
                  <a:lnTo>
                    <a:pt x="444" y="674"/>
                  </a:lnTo>
                  <a:lnTo>
                    <a:pt x="499" y="708"/>
                  </a:lnTo>
                  <a:lnTo>
                    <a:pt x="555" y="738"/>
                  </a:lnTo>
                  <a:lnTo>
                    <a:pt x="615" y="763"/>
                  </a:lnTo>
                  <a:lnTo>
                    <a:pt x="677" y="784"/>
                  </a:lnTo>
                  <a:lnTo>
                    <a:pt x="741" y="799"/>
                  </a:lnTo>
                  <a:lnTo>
                    <a:pt x="807" y="807"/>
                  </a:lnTo>
                  <a:lnTo>
                    <a:pt x="874" y="810"/>
                  </a:lnTo>
                  <a:lnTo>
                    <a:pt x="895" y="814"/>
                  </a:lnTo>
                  <a:lnTo>
                    <a:pt x="913" y="823"/>
                  </a:lnTo>
                  <a:lnTo>
                    <a:pt x="927" y="837"/>
                  </a:lnTo>
                  <a:lnTo>
                    <a:pt x="935" y="854"/>
                  </a:lnTo>
                  <a:lnTo>
                    <a:pt x="939" y="874"/>
                  </a:lnTo>
                  <a:lnTo>
                    <a:pt x="935" y="895"/>
                  </a:lnTo>
                  <a:lnTo>
                    <a:pt x="927" y="912"/>
                  </a:lnTo>
                  <a:lnTo>
                    <a:pt x="913" y="926"/>
                  </a:lnTo>
                  <a:lnTo>
                    <a:pt x="895" y="935"/>
                  </a:lnTo>
                  <a:lnTo>
                    <a:pt x="874" y="938"/>
                  </a:lnTo>
                  <a:lnTo>
                    <a:pt x="800" y="935"/>
                  </a:lnTo>
                  <a:lnTo>
                    <a:pt x="726" y="926"/>
                  </a:lnTo>
                  <a:lnTo>
                    <a:pt x="655" y="911"/>
                  </a:lnTo>
                  <a:lnTo>
                    <a:pt x="585" y="889"/>
                  </a:lnTo>
                  <a:lnTo>
                    <a:pt x="518" y="863"/>
                  </a:lnTo>
                  <a:lnTo>
                    <a:pt x="454" y="831"/>
                  </a:lnTo>
                  <a:lnTo>
                    <a:pt x="393" y="793"/>
                  </a:lnTo>
                  <a:lnTo>
                    <a:pt x="336" y="753"/>
                  </a:lnTo>
                  <a:lnTo>
                    <a:pt x="282" y="707"/>
                  </a:lnTo>
                  <a:lnTo>
                    <a:pt x="232" y="657"/>
                  </a:lnTo>
                  <a:lnTo>
                    <a:pt x="186" y="602"/>
                  </a:lnTo>
                  <a:lnTo>
                    <a:pt x="145" y="545"/>
                  </a:lnTo>
                  <a:lnTo>
                    <a:pt x="108" y="484"/>
                  </a:lnTo>
                  <a:lnTo>
                    <a:pt x="76" y="420"/>
                  </a:lnTo>
                  <a:lnTo>
                    <a:pt x="50" y="354"/>
                  </a:lnTo>
                  <a:lnTo>
                    <a:pt x="28" y="284"/>
                  </a:lnTo>
                  <a:lnTo>
                    <a:pt x="12" y="213"/>
                  </a:lnTo>
                  <a:lnTo>
                    <a:pt x="3" y="139"/>
                  </a:lnTo>
                  <a:lnTo>
                    <a:pt x="0" y="64"/>
                  </a:lnTo>
                  <a:lnTo>
                    <a:pt x="4" y="43"/>
                  </a:lnTo>
                  <a:lnTo>
                    <a:pt x="12" y="26"/>
                  </a:lnTo>
                  <a:lnTo>
                    <a:pt x="26" y="12"/>
                  </a:lnTo>
                  <a:lnTo>
                    <a:pt x="44" y="3"/>
                  </a:lnTo>
                  <a:lnTo>
                    <a:pt x="6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8580" tIns="64292" rIns="128580" bIns="64292" numCol="1" anchor="t" anchorCtr="0" compatLnSpc="1">
              <a:prstTxWarp prst="textNoShape">
                <a:avLst/>
              </a:prstTxWarp>
            </a:bodyPr>
            <a:lstStyle/>
            <a:p>
              <a:pPr defTabSz="1248295"/>
              <a:endParaRPr lang="es-SV" sz="11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35" name="Freeform 23"/>
            <p:cNvSpPr>
              <a:spLocks noEditPoints="1"/>
            </p:cNvSpPr>
            <p:nvPr/>
          </p:nvSpPr>
          <p:spPr bwMode="auto">
            <a:xfrm>
              <a:off x="5807" y="-772"/>
              <a:ext cx="337" cy="337"/>
            </a:xfrm>
            <a:custGeom>
              <a:avLst/>
              <a:gdLst>
                <a:gd name="T0" fmla="*/ 1363 w 3371"/>
                <a:gd name="T1" fmla="*/ 411 h 3371"/>
                <a:gd name="T2" fmla="*/ 1078 w 3371"/>
                <a:gd name="T3" fmla="*/ 543 h 3371"/>
                <a:gd name="T4" fmla="*/ 771 w 3371"/>
                <a:gd name="T5" fmla="*/ 405 h 3371"/>
                <a:gd name="T6" fmla="*/ 565 w 3371"/>
                <a:gd name="T7" fmla="*/ 984 h 3371"/>
                <a:gd name="T8" fmla="*/ 484 w 3371"/>
                <a:gd name="T9" fmla="*/ 1258 h 3371"/>
                <a:gd name="T10" fmla="*/ 261 w 3371"/>
                <a:gd name="T11" fmla="*/ 1450 h 3371"/>
                <a:gd name="T12" fmla="*/ 359 w 3371"/>
                <a:gd name="T13" fmla="*/ 1966 h 3371"/>
                <a:gd name="T14" fmla="*/ 530 w 3371"/>
                <a:gd name="T15" fmla="*/ 2213 h 3371"/>
                <a:gd name="T16" fmla="*/ 552 w 3371"/>
                <a:gd name="T17" fmla="*/ 2490 h 3371"/>
                <a:gd name="T18" fmla="*/ 890 w 3371"/>
                <a:gd name="T19" fmla="*/ 2859 h 3371"/>
                <a:gd name="T20" fmla="*/ 1211 w 3371"/>
                <a:gd name="T21" fmla="*/ 2862 h 3371"/>
                <a:gd name="T22" fmla="*/ 1428 w 3371"/>
                <a:gd name="T23" fmla="*/ 3047 h 3371"/>
                <a:gd name="T24" fmla="*/ 1930 w 3371"/>
                <a:gd name="T25" fmla="*/ 3079 h 3371"/>
                <a:gd name="T26" fmla="*/ 2129 w 3371"/>
                <a:gd name="T27" fmla="*/ 2876 h 3371"/>
                <a:gd name="T28" fmla="*/ 2450 w 3371"/>
                <a:gd name="T29" fmla="*/ 2844 h 3371"/>
                <a:gd name="T30" fmla="*/ 2830 w 3371"/>
                <a:gd name="T31" fmla="*/ 2521 h 3371"/>
                <a:gd name="T32" fmla="*/ 2830 w 3371"/>
                <a:gd name="T33" fmla="*/ 2246 h 3371"/>
                <a:gd name="T34" fmla="*/ 2983 w 3371"/>
                <a:gd name="T35" fmla="*/ 1991 h 3371"/>
                <a:gd name="T36" fmla="*/ 3147 w 3371"/>
                <a:gd name="T37" fmla="*/ 1454 h 3371"/>
                <a:gd name="T38" fmla="*/ 2908 w 3371"/>
                <a:gd name="T39" fmla="*/ 1291 h 3371"/>
                <a:gd name="T40" fmla="*/ 2808 w 3371"/>
                <a:gd name="T41" fmla="*/ 1019 h 3371"/>
                <a:gd name="T42" fmla="*/ 2934 w 3371"/>
                <a:gd name="T43" fmla="*/ 727 h 3371"/>
                <a:gd name="T44" fmla="*/ 2339 w 3371"/>
                <a:gd name="T45" fmla="*/ 544 h 3371"/>
                <a:gd name="T46" fmla="*/ 2036 w 3371"/>
                <a:gd name="T47" fmla="*/ 436 h 3371"/>
                <a:gd name="T48" fmla="*/ 1918 w 3371"/>
                <a:gd name="T49" fmla="*/ 128 h 3371"/>
                <a:gd name="T50" fmla="*/ 2044 w 3371"/>
                <a:gd name="T51" fmla="*/ 47 h 3371"/>
                <a:gd name="T52" fmla="*/ 2145 w 3371"/>
                <a:gd name="T53" fmla="*/ 357 h 3371"/>
                <a:gd name="T54" fmla="*/ 2385 w 3371"/>
                <a:gd name="T55" fmla="*/ 411 h 3371"/>
                <a:gd name="T56" fmla="*/ 2614 w 3371"/>
                <a:gd name="T57" fmla="*/ 252 h 3371"/>
                <a:gd name="T58" fmla="*/ 3082 w 3371"/>
                <a:gd name="T59" fmla="*/ 756 h 3371"/>
                <a:gd name="T60" fmla="*/ 2939 w 3371"/>
                <a:gd name="T61" fmla="*/ 1030 h 3371"/>
                <a:gd name="T62" fmla="*/ 3070 w 3371"/>
                <a:gd name="T63" fmla="*/ 1287 h 3371"/>
                <a:gd name="T64" fmla="*/ 3352 w 3371"/>
                <a:gd name="T65" fmla="*/ 1344 h 3371"/>
                <a:gd name="T66" fmla="*/ 3340 w 3371"/>
                <a:gd name="T67" fmla="*/ 2037 h 3371"/>
                <a:gd name="T68" fmla="*/ 3050 w 3371"/>
                <a:gd name="T69" fmla="*/ 2106 h 3371"/>
                <a:gd name="T70" fmla="*/ 2935 w 3371"/>
                <a:gd name="T71" fmla="*/ 2375 h 3371"/>
                <a:gd name="T72" fmla="*/ 3087 w 3371"/>
                <a:gd name="T73" fmla="*/ 2631 h 3371"/>
                <a:gd name="T74" fmla="*/ 2598 w 3371"/>
                <a:gd name="T75" fmla="*/ 3121 h 3371"/>
                <a:gd name="T76" fmla="*/ 2358 w 3371"/>
                <a:gd name="T77" fmla="*/ 2956 h 3371"/>
                <a:gd name="T78" fmla="*/ 2117 w 3371"/>
                <a:gd name="T79" fmla="*/ 3034 h 3371"/>
                <a:gd name="T80" fmla="*/ 2037 w 3371"/>
                <a:gd name="T81" fmla="*/ 3339 h 3371"/>
                <a:gd name="T82" fmla="*/ 1339 w 3371"/>
                <a:gd name="T83" fmla="*/ 3344 h 3371"/>
                <a:gd name="T84" fmla="*/ 1254 w 3371"/>
                <a:gd name="T85" fmla="*/ 3035 h 3371"/>
                <a:gd name="T86" fmla="*/ 1013 w 3371"/>
                <a:gd name="T87" fmla="*/ 2957 h 3371"/>
                <a:gd name="T88" fmla="*/ 773 w 3371"/>
                <a:gd name="T89" fmla="*/ 3121 h 3371"/>
                <a:gd name="T90" fmla="*/ 285 w 3371"/>
                <a:gd name="T91" fmla="*/ 2631 h 3371"/>
                <a:gd name="T92" fmla="*/ 436 w 3371"/>
                <a:gd name="T93" fmla="*/ 2375 h 3371"/>
                <a:gd name="T94" fmla="*/ 322 w 3371"/>
                <a:gd name="T95" fmla="*/ 2106 h 3371"/>
                <a:gd name="T96" fmla="*/ 27 w 3371"/>
                <a:gd name="T97" fmla="*/ 2033 h 3371"/>
                <a:gd name="T98" fmla="*/ 32 w 3371"/>
                <a:gd name="T99" fmla="*/ 1335 h 3371"/>
                <a:gd name="T100" fmla="*/ 322 w 3371"/>
                <a:gd name="T101" fmla="*/ 1265 h 3371"/>
                <a:gd name="T102" fmla="*/ 436 w 3371"/>
                <a:gd name="T103" fmla="*/ 997 h 3371"/>
                <a:gd name="T104" fmla="*/ 285 w 3371"/>
                <a:gd name="T105" fmla="*/ 740 h 3371"/>
                <a:gd name="T106" fmla="*/ 762 w 3371"/>
                <a:gd name="T107" fmla="*/ 252 h 3371"/>
                <a:gd name="T108" fmla="*/ 988 w 3371"/>
                <a:gd name="T109" fmla="*/ 412 h 3371"/>
                <a:gd name="T110" fmla="*/ 1227 w 3371"/>
                <a:gd name="T111" fmla="*/ 358 h 3371"/>
                <a:gd name="T112" fmla="*/ 1328 w 3371"/>
                <a:gd name="T113" fmla="*/ 47 h 3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371" h="3371">
                  <a:moveTo>
                    <a:pt x="1454" y="128"/>
                  </a:moveTo>
                  <a:lnTo>
                    <a:pt x="1454" y="225"/>
                  </a:lnTo>
                  <a:lnTo>
                    <a:pt x="1451" y="260"/>
                  </a:lnTo>
                  <a:lnTo>
                    <a:pt x="1442" y="293"/>
                  </a:lnTo>
                  <a:lnTo>
                    <a:pt x="1428" y="325"/>
                  </a:lnTo>
                  <a:lnTo>
                    <a:pt x="1410" y="354"/>
                  </a:lnTo>
                  <a:lnTo>
                    <a:pt x="1389" y="383"/>
                  </a:lnTo>
                  <a:lnTo>
                    <a:pt x="1363" y="411"/>
                  </a:lnTo>
                  <a:lnTo>
                    <a:pt x="1335" y="436"/>
                  </a:lnTo>
                  <a:lnTo>
                    <a:pt x="1306" y="458"/>
                  </a:lnTo>
                  <a:lnTo>
                    <a:pt x="1275" y="478"/>
                  </a:lnTo>
                  <a:lnTo>
                    <a:pt x="1243" y="495"/>
                  </a:lnTo>
                  <a:lnTo>
                    <a:pt x="1211" y="510"/>
                  </a:lnTo>
                  <a:lnTo>
                    <a:pt x="1167" y="525"/>
                  </a:lnTo>
                  <a:lnTo>
                    <a:pt x="1123" y="537"/>
                  </a:lnTo>
                  <a:lnTo>
                    <a:pt x="1078" y="543"/>
                  </a:lnTo>
                  <a:lnTo>
                    <a:pt x="1034" y="545"/>
                  </a:lnTo>
                  <a:lnTo>
                    <a:pt x="994" y="543"/>
                  </a:lnTo>
                  <a:lnTo>
                    <a:pt x="957" y="537"/>
                  </a:lnTo>
                  <a:lnTo>
                    <a:pt x="922" y="527"/>
                  </a:lnTo>
                  <a:lnTo>
                    <a:pt x="891" y="513"/>
                  </a:lnTo>
                  <a:lnTo>
                    <a:pt x="863" y="495"/>
                  </a:lnTo>
                  <a:lnTo>
                    <a:pt x="838" y="474"/>
                  </a:lnTo>
                  <a:lnTo>
                    <a:pt x="771" y="405"/>
                  </a:lnTo>
                  <a:lnTo>
                    <a:pt x="437" y="727"/>
                  </a:lnTo>
                  <a:lnTo>
                    <a:pt x="504" y="796"/>
                  </a:lnTo>
                  <a:lnTo>
                    <a:pt x="526" y="822"/>
                  </a:lnTo>
                  <a:lnTo>
                    <a:pt x="542" y="850"/>
                  </a:lnTo>
                  <a:lnTo>
                    <a:pt x="554" y="881"/>
                  </a:lnTo>
                  <a:lnTo>
                    <a:pt x="561" y="914"/>
                  </a:lnTo>
                  <a:lnTo>
                    <a:pt x="565" y="949"/>
                  </a:lnTo>
                  <a:lnTo>
                    <a:pt x="565" y="984"/>
                  </a:lnTo>
                  <a:lnTo>
                    <a:pt x="563" y="1019"/>
                  </a:lnTo>
                  <a:lnTo>
                    <a:pt x="558" y="1055"/>
                  </a:lnTo>
                  <a:lnTo>
                    <a:pt x="550" y="1090"/>
                  </a:lnTo>
                  <a:lnTo>
                    <a:pt x="542" y="1126"/>
                  </a:lnTo>
                  <a:lnTo>
                    <a:pt x="530" y="1159"/>
                  </a:lnTo>
                  <a:lnTo>
                    <a:pt x="518" y="1190"/>
                  </a:lnTo>
                  <a:lnTo>
                    <a:pt x="502" y="1224"/>
                  </a:lnTo>
                  <a:lnTo>
                    <a:pt x="484" y="1258"/>
                  </a:lnTo>
                  <a:lnTo>
                    <a:pt x="464" y="1291"/>
                  </a:lnTo>
                  <a:lnTo>
                    <a:pt x="440" y="1323"/>
                  </a:lnTo>
                  <a:lnTo>
                    <a:pt x="416" y="1353"/>
                  </a:lnTo>
                  <a:lnTo>
                    <a:pt x="388" y="1381"/>
                  </a:lnTo>
                  <a:lnTo>
                    <a:pt x="359" y="1405"/>
                  </a:lnTo>
                  <a:lnTo>
                    <a:pt x="327" y="1425"/>
                  </a:lnTo>
                  <a:lnTo>
                    <a:pt x="295" y="1440"/>
                  </a:lnTo>
                  <a:lnTo>
                    <a:pt x="261" y="1450"/>
                  </a:lnTo>
                  <a:lnTo>
                    <a:pt x="225" y="1454"/>
                  </a:lnTo>
                  <a:lnTo>
                    <a:pt x="129" y="1454"/>
                  </a:lnTo>
                  <a:lnTo>
                    <a:pt x="129" y="1917"/>
                  </a:lnTo>
                  <a:lnTo>
                    <a:pt x="225" y="1917"/>
                  </a:lnTo>
                  <a:lnTo>
                    <a:pt x="261" y="1921"/>
                  </a:lnTo>
                  <a:lnTo>
                    <a:pt x="295" y="1931"/>
                  </a:lnTo>
                  <a:lnTo>
                    <a:pt x="327" y="1946"/>
                  </a:lnTo>
                  <a:lnTo>
                    <a:pt x="359" y="1966"/>
                  </a:lnTo>
                  <a:lnTo>
                    <a:pt x="388" y="1991"/>
                  </a:lnTo>
                  <a:lnTo>
                    <a:pt x="415" y="2018"/>
                  </a:lnTo>
                  <a:lnTo>
                    <a:pt x="440" y="2048"/>
                  </a:lnTo>
                  <a:lnTo>
                    <a:pt x="464" y="2080"/>
                  </a:lnTo>
                  <a:lnTo>
                    <a:pt x="484" y="2114"/>
                  </a:lnTo>
                  <a:lnTo>
                    <a:pt x="502" y="2148"/>
                  </a:lnTo>
                  <a:lnTo>
                    <a:pt x="517" y="2182"/>
                  </a:lnTo>
                  <a:lnTo>
                    <a:pt x="530" y="2213"/>
                  </a:lnTo>
                  <a:lnTo>
                    <a:pt x="541" y="2247"/>
                  </a:lnTo>
                  <a:lnTo>
                    <a:pt x="550" y="2281"/>
                  </a:lnTo>
                  <a:lnTo>
                    <a:pt x="558" y="2316"/>
                  </a:lnTo>
                  <a:lnTo>
                    <a:pt x="563" y="2352"/>
                  </a:lnTo>
                  <a:lnTo>
                    <a:pt x="565" y="2389"/>
                  </a:lnTo>
                  <a:lnTo>
                    <a:pt x="564" y="2424"/>
                  </a:lnTo>
                  <a:lnTo>
                    <a:pt x="561" y="2458"/>
                  </a:lnTo>
                  <a:lnTo>
                    <a:pt x="552" y="2490"/>
                  </a:lnTo>
                  <a:lnTo>
                    <a:pt x="541" y="2521"/>
                  </a:lnTo>
                  <a:lnTo>
                    <a:pt x="525" y="2550"/>
                  </a:lnTo>
                  <a:lnTo>
                    <a:pt x="504" y="2575"/>
                  </a:lnTo>
                  <a:lnTo>
                    <a:pt x="437" y="2645"/>
                  </a:lnTo>
                  <a:lnTo>
                    <a:pt x="771" y="2967"/>
                  </a:lnTo>
                  <a:lnTo>
                    <a:pt x="838" y="2897"/>
                  </a:lnTo>
                  <a:lnTo>
                    <a:pt x="862" y="2876"/>
                  </a:lnTo>
                  <a:lnTo>
                    <a:pt x="890" y="2859"/>
                  </a:lnTo>
                  <a:lnTo>
                    <a:pt x="922" y="2845"/>
                  </a:lnTo>
                  <a:lnTo>
                    <a:pt x="956" y="2836"/>
                  </a:lnTo>
                  <a:lnTo>
                    <a:pt x="993" y="2829"/>
                  </a:lnTo>
                  <a:lnTo>
                    <a:pt x="1032" y="2827"/>
                  </a:lnTo>
                  <a:lnTo>
                    <a:pt x="1077" y="2829"/>
                  </a:lnTo>
                  <a:lnTo>
                    <a:pt x="1122" y="2836"/>
                  </a:lnTo>
                  <a:lnTo>
                    <a:pt x="1167" y="2847"/>
                  </a:lnTo>
                  <a:lnTo>
                    <a:pt x="1211" y="2862"/>
                  </a:lnTo>
                  <a:lnTo>
                    <a:pt x="1243" y="2877"/>
                  </a:lnTo>
                  <a:lnTo>
                    <a:pt x="1275" y="2894"/>
                  </a:lnTo>
                  <a:lnTo>
                    <a:pt x="1306" y="2913"/>
                  </a:lnTo>
                  <a:lnTo>
                    <a:pt x="1335" y="2936"/>
                  </a:lnTo>
                  <a:lnTo>
                    <a:pt x="1363" y="2961"/>
                  </a:lnTo>
                  <a:lnTo>
                    <a:pt x="1389" y="2988"/>
                  </a:lnTo>
                  <a:lnTo>
                    <a:pt x="1410" y="3016"/>
                  </a:lnTo>
                  <a:lnTo>
                    <a:pt x="1428" y="3047"/>
                  </a:lnTo>
                  <a:lnTo>
                    <a:pt x="1442" y="3079"/>
                  </a:lnTo>
                  <a:lnTo>
                    <a:pt x="1451" y="3112"/>
                  </a:lnTo>
                  <a:lnTo>
                    <a:pt x="1454" y="3146"/>
                  </a:lnTo>
                  <a:lnTo>
                    <a:pt x="1454" y="3243"/>
                  </a:lnTo>
                  <a:lnTo>
                    <a:pt x="1918" y="3243"/>
                  </a:lnTo>
                  <a:lnTo>
                    <a:pt x="1918" y="3146"/>
                  </a:lnTo>
                  <a:lnTo>
                    <a:pt x="1921" y="3112"/>
                  </a:lnTo>
                  <a:lnTo>
                    <a:pt x="1930" y="3079"/>
                  </a:lnTo>
                  <a:lnTo>
                    <a:pt x="1943" y="3047"/>
                  </a:lnTo>
                  <a:lnTo>
                    <a:pt x="1962" y="3017"/>
                  </a:lnTo>
                  <a:lnTo>
                    <a:pt x="1983" y="2988"/>
                  </a:lnTo>
                  <a:lnTo>
                    <a:pt x="2008" y="2961"/>
                  </a:lnTo>
                  <a:lnTo>
                    <a:pt x="2036" y="2936"/>
                  </a:lnTo>
                  <a:lnTo>
                    <a:pt x="2066" y="2913"/>
                  </a:lnTo>
                  <a:lnTo>
                    <a:pt x="2097" y="2894"/>
                  </a:lnTo>
                  <a:lnTo>
                    <a:pt x="2129" y="2876"/>
                  </a:lnTo>
                  <a:lnTo>
                    <a:pt x="2161" y="2862"/>
                  </a:lnTo>
                  <a:lnTo>
                    <a:pt x="2204" y="2846"/>
                  </a:lnTo>
                  <a:lnTo>
                    <a:pt x="2248" y="2836"/>
                  </a:lnTo>
                  <a:lnTo>
                    <a:pt x="2293" y="2828"/>
                  </a:lnTo>
                  <a:lnTo>
                    <a:pt x="2338" y="2826"/>
                  </a:lnTo>
                  <a:lnTo>
                    <a:pt x="2378" y="2828"/>
                  </a:lnTo>
                  <a:lnTo>
                    <a:pt x="2415" y="2834"/>
                  </a:lnTo>
                  <a:lnTo>
                    <a:pt x="2450" y="2844"/>
                  </a:lnTo>
                  <a:lnTo>
                    <a:pt x="2481" y="2858"/>
                  </a:lnTo>
                  <a:lnTo>
                    <a:pt x="2509" y="2876"/>
                  </a:lnTo>
                  <a:lnTo>
                    <a:pt x="2533" y="2897"/>
                  </a:lnTo>
                  <a:lnTo>
                    <a:pt x="2600" y="2967"/>
                  </a:lnTo>
                  <a:lnTo>
                    <a:pt x="2934" y="2645"/>
                  </a:lnTo>
                  <a:lnTo>
                    <a:pt x="2867" y="2575"/>
                  </a:lnTo>
                  <a:lnTo>
                    <a:pt x="2846" y="2550"/>
                  </a:lnTo>
                  <a:lnTo>
                    <a:pt x="2830" y="2521"/>
                  </a:lnTo>
                  <a:lnTo>
                    <a:pt x="2818" y="2490"/>
                  </a:lnTo>
                  <a:lnTo>
                    <a:pt x="2811" y="2457"/>
                  </a:lnTo>
                  <a:lnTo>
                    <a:pt x="2806" y="2423"/>
                  </a:lnTo>
                  <a:lnTo>
                    <a:pt x="2806" y="2388"/>
                  </a:lnTo>
                  <a:lnTo>
                    <a:pt x="2808" y="2352"/>
                  </a:lnTo>
                  <a:lnTo>
                    <a:pt x="2814" y="2316"/>
                  </a:lnTo>
                  <a:lnTo>
                    <a:pt x="2821" y="2281"/>
                  </a:lnTo>
                  <a:lnTo>
                    <a:pt x="2830" y="2246"/>
                  </a:lnTo>
                  <a:lnTo>
                    <a:pt x="2842" y="2213"/>
                  </a:lnTo>
                  <a:lnTo>
                    <a:pt x="2853" y="2182"/>
                  </a:lnTo>
                  <a:lnTo>
                    <a:pt x="2869" y="2148"/>
                  </a:lnTo>
                  <a:lnTo>
                    <a:pt x="2887" y="2113"/>
                  </a:lnTo>
                  <a:lnTo>
                    <a:pt x="2908" y="2080"/>
                  </a:lnTo>
                  <a:lnTo>
                    <a:pt x="2931" y="2048"/>
                  </a:lnTo>
                  <a:lnTo>
                    <a:pt x="2956" y="2018"/>
                  </a:lnTo>
                  <a:lnTo>
                    <a:pt x="2983" y="1991"/>
                  </a:lnTo>
                  <a:lnTo>
                    <a:pt x="3012" y="1966"/>
                  </a:lnTo>
                  <a:lnTo>
                    <a:pt x="3043" y="1946"/>
                  </a:lnTo>
                  <a:lnTo>
                    <a:pt x="3076" y="1931"/>
                  </a:lnTo>
                  <a:lnTo>
                    <a:pt x="3110" y="1921"/>
                  </a:lnTo>
                  <a:lnTo>
                    <a:pt x="3147" y="1917"/>
                  </a:lnTo>
                  <a:lnTo>
                    <a:pt x="3244" y="1917"/>
                  </a:lnTo>
                  <a:lnTo>
                    <a:pt x="3244" y="1454"/>
                  </a:lnTo>
                  <a:lnTo>
                    <a:pt x="3147" y="1454"/>
                  </a:lnTo>
                  <a:lnTo>
                    <a:pt x="3110" y="1450"/>
                  </a:lnTo>
                  <a:lnTo>
                    <a:pt x="3076" y="1440"/>
                  </a:lnTo>
                  <a:lnTo>
                    <a:pt x="3043" y="1425"/>
                  </a:lnTo>
                  <a:lnTo>
                    <a:pt x="3012" y="1405"/>
                  </a:lnTo>
                  <a:lnTo>
                    <a:pt x="2983" y="1381"/>
                  </a:lnTo>
                  <a:lnTo>
                    <a:pt x="2956" y="1353"/>
                  </a:lnTo>
                  <a:lnTo>
                    <a:pt x="2931" y="1323"/>
                  </a:lnTo>
                  <a:lnTo>
                    <a:pt x="2908" y="1291"/>
                  </a:lnTo>
                  <a:lnTo>
                    <a:pt x="2887" y="1258"/>
                  </a:lnTo>
                  <a:lnTo>
                    <a:pt x="2869" y="1224"/>
                  </a:lnTo>
                  <a:lnTo>
                    <a:pt x="2854" y="1190"/>
                  </a:lnTo>
                  <a:lnTo>
                    <a:pt x="2842" y="1159"/>
                  </a:lnTo>
                  <a:lnTo>
                    <a:pt x="2831" y="1126"/>
                  </a:lnTo>
                  <a:lnTo>
                    <a:pt x="2821" y="1090"/>
                  </a:lnTo>
                  <a:lnTo>
                    <a:pt x="2814" y="1055"/>
                  </a:lnTo>
                  <a:lnTo>
                    <a:pt x="2808" y="1019"/>
                  </a:lnTo>
                  <a:lnTo>
                    <a:pt x="2806" y="984"/>
                  </a:lnTo>
                  <a:lnTo>
                    <a:pt x="2807" y="949"/>
                  </a:lnTo>
                  <a:lnTo>
                    <a:pt x="2811" y="914"/>
                  </a:lnTo>
                  <a:lnTo>
                    <a:pt x="2819" y="881"/>
                  </a:lnTo>
                  <a:lnTo>
                    <a:pt x="2831" y="850"/>
                  </a:lnTo>
                  <a:lnTo>
                    <a:pt x="2847" y="822"/>
                  </a:lnTo>
                  <a:lnTo>
                    <a:pt x="2867" y="796"/>
                  </a:lnTo>
                  <a:lnTo>
                    <a:pt x="2934" y="727"/>
                  </a:lnTo>
                  <a:lnTo>
                    <a:pt x="2602" y="405"/>
                  </a:lnTo>
                  <a:lnTo>
                    <a:pt x="2534" y="474"/>
                  </a:lnTo>
                  <a:lnTo>
                    <a:pt x="2510" y="495"/>
                  </a:lnTo>
                  <a:lnTo>
                    <a:pt x="2482" y="512"/>
                  </a:lnTo>
                  <a:lnTo>
                    <a:pt x="2450" y="526"/>
                  </a:lnTo>
                  <a:lnTo>
                    <a:pt x="2416" y="537"/>
                  </a:lnTo>
                  <a:lnTo>
                    <a:pt x="2379" y="542"/>
                  </a:lnTo>
                  <a:lnTo>
                    <a:pt x="2339" y="544"/>
                  </a:lnTo>
                  <a:lnTo>
                    <a:pt x="2294" y="542"/>
                  </a:lnTo>
                  <a:lnTo>
                    <a:pt x="2250" y="536"/>
                  </a:lnTo>
                  <a:lnTo>
                    <a:pt x="2205" y="525"/>
                  </a:lnTo>
                  <a:lnTo>
                    <a:pt x="2161" y="509"/>
                  </a:lnTo>
                  <a:lnTo>
                    <a:pt x="2129" y="495"/>
                  </a:lnTo>
                  <a:lnTo>
                    <a:pt x="2097" y="477"/>
                  </a:lnTo>
                  <a:lnTo>
                    <a:pt x="2066" y="458"/>
                  </a:lnTo>
                  <a:lnTo>
                    <a:pt x="2036" y="436"/>
                  </a:lnTo>
                  <a:lnTo>
                    <a:pt x="2008" y="411"/>
                  </a:lnTo>
                  <a:lnTo>
                    <a:pt x="1983" y="383"/>
                  </a:lnTo>
                  <a:lnTo>
                    <a:pt x="1962" y="356"/>
                  </a:lnTo>
                  <a:lnTo>
                    <a:pt x="1943" y="325"/>
                  </a:lnTo>
                  <a:lnTo>
                    <a:pt x="1930" y="293"/>
                  </a:lnTo>
                  <a:lnTo>
                    <a:pt x="1921" y="260"/>
                  </a:lnTo>
                  <a:lnTo>
                    <a:pt x="1918" y="225"/>
                  </a:lnTo>
                  <a:lnTo>
                    <a:pt x="1918" y="128"/>
                  </a:lnTo>
                  <a:lnTo>
                    <a:pt x="1454" y="128"/>
                  </a:lnTo>
                  <a:close/>
                  <a:moveTo>
                    <a:pt x="1390" y="0"/>
                  </a:moveTo>
                  <a:lnTo>
                    <a:pt x="1982" y="0"/>
                  </a:lnTo>
                  <a:lnTo>
                    <a:pt x="1999" y="2"/>
                  </a:lnTo>
                  <a:lnTo>
                    <a:pt x="2014" y="9"/>
                  </a:lnTo>
                  <a:lnTo>
                    <a:pt x="2027" y="20"/>
                  </a:lnTo>
                  <a:lnTo>
                    <a:pt x="2037" y="32"/>
                  </a:lnTo>
                  <a:lnTo>
                    <a:pt x="2044" y="47"/>
                  </a:lnTo>
                  <a:lnTo>
                    <a:pt x="2046" y="64"/>
                  </a:lnTo>
                  <a:lnTo>
                    <a:pt x="2046" y="225"/>
                  </a:lnTo>
                  <a:lnTo>
                    <a:pt x="2049" y="247"/>
                  </a:lnTo>
                  <a:lnTo>
                    <a:pt x="2059" y="269"/>
                  </a:lnTo>
                  <a:lnTo>
                    <a:pt x="2074" y="293"/>
                  </a:lnTo>
                  <a:lnTo>
                    <a:pt x="2093" y="315"/>
                  </a:lnTo>
                  <a:lnTo>
                    <a:pt x="2117" y="336"/>
                  </a:lnTo>
                  <a:lnTo>
                    <a:pt x="2145" y="357"/>
                  </a:lnTo>
                  <a:lnTo>
                    <a:pt x="2176" y="375"/>
                  </a:lnTo>
                  <a:lnTo>
                    <a:pt x="2209" y="391"/>
                  </a:lnTo>
                  <a:lnTo>
                    <a:pt x="2239" y="400"/>
                  </a:lnTo>
                  <a:lnTo>
                    <a:pt x="2270" y="409"/>
                  </a:lnTo>
                  <a:lnTo>
                    <a:pt x="2301" y="413"/>
                  </a:lnTo>
                  <a:lnTo>
                    <a:pt x="2331" y="415"/>
                  </a:lnTo>
                  <a:lnTo>
                    <a:pt x="2358" y="415"/>
                  </a:lnTo>
                  <a:lnTo>
                    <a:pt x="2385" y="411"/>
                  </a:lnTo>
                  <a:lnTo>
                    <a:pt x="2407" y="406"/>
                  </a:lnTo>
                  <a:lnTo>
                    <a:pt x="2427" y="397"/>
                  </a:lnTo>
                  <a:lnTo>
                    <a:pt x="2442" y="385"/>
                  </a:lnTo>
                  <a:lnTo>
                    <a:pt x="2554" y="270"/>
                  </a:lnTo>
                  <a:lnTo>
                    <a:pt x="2566" y="260"/>
                  </a:lnTo>
                  <a:lnTo>
                    <a:pt x="2581" y="252"/>
                  </a:lnTo>
                  <a:lnTo>
                    <a:pt x="2598" y="250"/>
                  </a:lnTo>
                  <a:lnTo>
                    <a:pt x="2614" y="252"/>
                  </a:lnTo>
                  <a:lnTo>
                    <a:pt x="2630" y="257"/>
                  </a:lnTo>
                  <a:lnTo>
                    <a:pt x="2644" y="268"/>
                  </a:lnTo>
                  <a:lnTo>
                    <a:pt x="3069" y="679"/>
                  </a:lnTo>
                  <a:lnTo>
                    <a:pt x="3079" y="693"/>
                  </a:lnTo>
                  <a:lnTo>
                    <a:pt x="3087" y="708"/>
                  </a:lnTo>
                  <a:lnTo>
                    <a:pt x="3089" y="724"/>
                  </a:lnTo>
                  <a:lnTo>
                    <a:pt x="3087" y="740"/>
                  </a:lnTo>
                  <a:lnTo>
                    <a:pt x="3082" y="756"/>
                  </a:lnTo>
                  <a:lnTo>
                    <a:pt x="3071" y="769"/>
                  </a:lnTo>
                  <a:lnTo>
                    <a:pt x="2959" y="885"/>
                  </a:lnTo>
                  <a:lnTo>
                    <a:pt x="2949" y="898"/>
                  </a:lnTo>
                  <a:lnTo>
                    <a:pt x="2942" y="918"/>
                  </a:lnTo>
                  <a:lnTo>
                    <a:pt x="2936" y="940"/>
                  </a:lnTo>
                  <a:lnTo>
                    <a:pt x="2934" y="967"/>
                  </a:lnTo>
                  <a:lnTo>
                    <a:pt x="2935" y="997"/>
                  </a:lnTo>
                  <a:lnTo>
                    <a:pt x="2939" y="1030"/>
                  </a:lnTo>
                  <a:lnTo>
                    <a:pt x="2946" y="1065"/>
                  </a:lnTo>
                  <a:lnTo>
                    <a:pt x="2957" y="1102"/>
                  </a:lnTo>
                  <a:lnTo>
                    <a:pt x="2972" y="1140"/>
                  </a:lnTo>
                  <a:lnTo>
                    <a:pt x="2989" y="1177"/>
                  </a:lnTo>
                  <a:lnTo>
                    <a:pt x="3008" y="1210"/>
                  </a:lnTo>
                  <a:lnTo>
                    <a:pt x="3028" y="1240"/>
                  </a:lnTo>
                  <a:lnTo>
                    <a:pt x="3050" y="1265"/>
                  </a:lnTo>
                  <a:lnTo>
                    <a:pt x="3070" y="1287"/>
                  </a:lnTo>
                  <a:lnTo>
                    <a:pt x="3091" y="1304"/>
                  </a:lnTo>
                  <a:lnTo>
                    <a:pt x="3110" y="1316"/>
                  </a:lnTo>
                  <a:lnTo>
                    <a:pt x="3130" y="1323"/>
                  </a:lnTo>
                  <a:lnTo>
                    <a:pt x="3147" y="1326"/>
                  </a:lnTo>
                  <a:lnTo>
                    <a:pt x="3307" y="1326"/>
                  </a:lnTo>
                  <a:lnTo>
                    <a:pt x="3324" y="1328"/>
                  </a:lnTo>
                  <a:lnTo>
                    <a:pt x="3340" y="1335"/>
                  </a:lnTo>
                  <a:lnTo>
                    <a:pt x="3352" y="1344"/>
                  </a:lnTo>
                  <a:lnTo>
                    <a:pt x="3362" y="1357"/>
                  </a:lnTo>
                  <a:lnTo>
                    <a:pt x="3368" y="1373"/>
                  </a:lnTo>
                  <a:lnTo>
                    <a:pt x="3371" y="1390"/>
                  </a:lnTo>
                  <a:lnTo>
                    <a:pt x="3371" y="1981"/>
                  </a:lnTo>
                  <a:lnTo>
                    <a:pt x="3368" y="1998"/>
                  </a:lnTo>
                  <a:lnTo>
                    <a:pt x="3362" y="2014"/>
                  </a:lnTo>
                  <a:lnTo>
                    <a:pt x="3352" y="2027"/>
                  </a:lnTo>
                  <a:lnTo>
                    <a:pt x="3340" y="2037"/>
                  </a:lnTo>
                  <a:lnTo>
                    <a:pt x="3324" y="2043"/>
                  </a:lnTo>
                  <a:lnTo>
                    <a:pt x="3307" y="2045"/>
                  </a:lnTo>
                  <a:lnTo>
                    <a:pt x="3147" y="2045"/>
                  </a:lnTo>
                  <a:lnTo>
                    <a:pt x="3130" y="2048"/>
                  </a:lnTo>
                  <a:lnTo>
                    <a:pt x="3110" y="2056"/>
                  </a:lnTo>
                  <a:lnTo>
                    <a:pt x="3091" y="2068"/>
                  </a:lnTo>
                  <a:lnTo>
                    <a:pt x="3070" y="2085"/>
                  </a:lnTo>
                  <a:lnTo>
                    <a:pt x="3050" y="2106"/>
                  </a:lnTo>
                  <a:lnTo>
                    <a:pt x="3028" y="2132"/>
                  </a:lnTo>
                  <a:lnTo>
                    <a:pt x="3008" y="2161"/>
                  </a:lnTo>
                  <a:lnTo>
                    <a:pt x="2989" y="2194"/>
                  </a:lnTo>
                  <a:lnTo>
                    <a:pt x="2972" y="2232"/>
                  </a:lnTo>
                  <a:lnTo>
                    <a:pt x="2957" y="2269"/>
                  </a:lnTo>
                  <a:lnTo>
                    <a:pt x="2946" y="2306"/>
                  </a:lnTo>
                  <a:lnTo>
                    <a:pt x="2939" y="2342"/>
                  </a:lnTo>
                  <a:lnTo>
                    <a:pt x="2935" y="2375"/>
                  </a:lnTo>
                  <a:lnTo>
                    <a:pt x="2934" y="2405"/>
                  </a:lnTo>
                  <a:lnTo>
                    <a:pt x="2936" y="2431"/>
                  </a:lnTo>
                  <a:lnTo>
                    <a:pt x="2942" y="2454"/>
                  </a:lnTo>
                  <a:lnTo>
                    <a:pt x="2949" y="2472"/>
                  </a:lnTo>
                  <a:lnTo>
                    <a:pt x="2959" y="2486"/>
                  </a:lnTo>
                  <a:lnTo>
                    <a:pt x="3071" y="2602"/>
                  </a:lnTo>
                  <a:lnTo>
                    <a:pt x="3082" y="2616"/>
                  </a:lnTo>
                  <a:lnTo>
                    <a:pt x="3087" y="2631"/>
                  </a:lnTo>
                  <a:lnTo>
                    <a:pt x="3089" y="2648"/>
                  </a:lnTo>
                  <a:lnTo>
                    <a:pt x="3087" y="2664"/>
                  </a:lnTo>
                  <a:lnTo>
                    <a:pt x="3079" y="2679"/>
                  </a:lnTo>
                  <a:lnTo>
                    <a:pt x="3069" y="2693"/>
                  </a:lnTo>
                  <a:lnTo>
                    <a:pt x="2644" y="3103"/>
                  </a:lnTo>
                  <a:lnTo>
                    <a:pt x="2630" y="3114"/>
                  </a:lnTo>
                  <a:lnTo>
                    <a:pt x="2614" y="3119"/>
                  </a:lnTo>
                  <a:lnTo>
                    <a:pt x="2598" y="3121"/>
                  </a:lnTo>
                  <a:lnTo>
                    <a:pt x="2582" y="3119"/>
                  </a:lnTo>
                  <a:lnTo>
                    <a:pt x="2566" y="3113"/>
                  </a:lnTo>
                  <a:lnTo>
                    <a:pt x="2554" y="3102"/>
                  </a:lnTo>
                  <a:lnTo>
                    <a:pt x="2442" y="2986"/>
                  </a:lnTo>
                  <a:lnTo>
                    <a:pt x="2427" y="2974"/>
                  </a:lnTo>
                  <a:lnTo>
                    <a:pt x="2407" y="2966"/>
                  </a:lnTo>
                  <a:lnTo>
                    <a:pt x="2384" y="2959"/>
                  </a:lnTo>
                  <a:lnTo>
                    <a:pt x="2358" y="2956"/>
                  </a:lnTo>
                  <a:lnTo>
                    <a:pt x="2330" y="2955"/>
                  </a:lnTo>
                  <a:lnTo>
                    <a:pt x="2300" y="2957"/>
                  </a:lnTo>
                  <a:lnTo>
                    <a:pt x="2270" y="2962"/>
                  </a:lnTo>
                  <a:lnTo>
                    <a:pt x="2239" y="2970"/>
                  </a:lnTo>
                  <a:lnTo>
                    <a:pt x="2209" y="2981"/>
                  </a:lnTo>
                  <a:lnTo>
                    <a:pt x="2176" y="2996"/>
                  </a:lnTo>
                  <a:lnTo>
                    <a:pt x="2145" y="3014"/>
                  </a:lnTo>
                  <a:lnTo>
                    <a:pt x="2117" y="3034"/>
                  </a:lnTo>
                  <a:lnTo>
                    <a:pt x="2093" y="3056"/>
                  </a:lnTo>
                  <a:lnTo>
                    <a:pt x="2074" y="3079"/>
                  </a:lnTo>
                  <a:lnTo>
                    <a:pt x="2059" y="3102"/>
                  </a:lnTo>
                  <a:lnTo>
                    <a:pt x="2049" y="3125"/>
                  </a:lnTo>
                  <a:lnTo>
                    <a:pt x="2046" y="3146"/>
                  </a:lnTo>
                  <a:lnTo>
                    <a:pt x="2046" y="3307"/>
                  </a:lnTo>
                  <a:lnTo>
                    <a:pt x="2044" y="3324"/>
                  </a:lnTo>
                  <a:lnTo>
                    <a:pt x="2037" y="3339"/>
                  </a:lnTo>
                  <a:lnTo>
                    <a:pt x="2027" y="3352"/>
                  </a:lnTo>
                  <a:lnTo>
                    <a:pt x="2014" y="3362"/>
                  </a:lnTo>
                  <a:lnTo>
                    <a:pt x="1999" y="3369"/>
                  </a:lnTo>
                  <a:lnTo>
                    <a:pt x="1982" y="3371"/>
                  </a:lnTo>
                  <a:lnTo>
                    <a:pt x="1390" y="3371"/>
                  </a:lnTo>
                  <a:lnTo>
                    <a:pt x="1370" y="3368"/>
                  </a:lnTo>
                  <a:lnTo>
                    <a:pt x="1352" y="3358"/>
                  </a:lnTo>
                  <a:lnTo>
                    <a:pt x="1339" y="3344"/>
                  </a:lnTo>
                  <a:lnTo>
                    <a:pt x="1329" y="3327"/>
                  </a:lnTo>
                  <a:lnTo>
                    <a:pt x="1326" y="3307"/>
                  </a:lnTo>
                  <a:lnTo>
                    <a:pt x="1326" y="3146"/>
                  </a:lnTo>
                  <a:lnTo>
                    <a:pt x="1323" y="3125"/>
                  </a:lnTo>
                  <a:lnTo>
                    <a:pt x="1313" y="3102"/>
                  </a:lnTo>
                  <a:lnTo>
                    <a:pt x="1298" y="3079"/>
                  </a:lnTo>
                  <a:lnTo>
                    <a:pt x="1279" y="3056"/>
                  </a:lnTo>
                  <a:lnTo>
                    <a:pt x="1254" y="3035"/>
                  </a:lnTo>
                  <a:lnTo>
                    <a:pt x="1227" y="3015"/>
                  </a:lnTo>
                  <a:lnTo>
                    <a:pt x="1196" y="2997"/>
                  </a:lnTo>
                  <a:lnTo>
                    <a:pt x="1163" y="2981"/>
                  </a:lnTo>
                  <a:lnTo>
                    <a:pt x="1133" y="2971"/>
                  </a:lnTo>
                  <a:lnTo>
                    <a:pt x="1102" y="2962"/>
                  </a:lnTo>
                  <a:lnTo>
                    <a:pt x="1071" y="2958"/>
                  </a:lnTo>
                  <a:lnTo>
                    <a:pt x="1041" y="2956"/>
                  </a:lnTo>
                  <a:lnTo>
                    <a:pt x="1013" y="2957"/>
                  </a:lnTo>
                  <a:lnTo>
                    <a:pt x="987" y="2960"/>
                  </a:lnTo>
                  <a:lnTo>
                    <a:pt x="964" y="2966"/>
                  </a:lnTo>
                  <a:lnTo>
                    <a:pt x="945" y="2975"/>
                  </a:lnTo>
                  <a:lnTo>
                    <a:pt x="930" y="2986"/>
                  </a:lnTo>
                  <a:lnTo>
                    <a:pt x="818" y="3102"/>
                  </a:lnTo>
                  <a:lnTo>
                    <a:pt x="805" y="3113"/>
                  </a:lnTo>
                  <a:lnTo>
                    <a:pt x="790" y="3119"/>
                  </a:lnTo>
                  <a:lnTo>
                    <a:pt x="773" y="3121"/>
                  </a:lnTo>
                  <a:lnTo>
                    <a:pt x="757" y="3119"/>
                  </a:lnTo>
                  <a:lnTo>
                    <a:pt x="741" y="3113"/>
                  </a:lnTo>
                  <a:lnTo>
                    <a:pt x="728" y="3103"/>
                  </a:lnTo>
                  <a:lnTo>
                    <a:pt x="302" y="2693"/>
                  </a:lnTo>
                  <a:lnTo>
                    <a:pt x="292" y="2680"/>
                  </a:lnTo>
                  <a:lnTo>
                    <a:pt x="286" y="2664"/>
                  </a:lnTo>
                  <a:lnTo>
                    <a:pt x="283" y="2648"/>
                  </a:lnTo>
                  <a:lnTo>
                    <a:pt x="285" y="2631"/>
                  </a:lnTo>
                  <a:lnTo>
                    <a:pt x="291" y="2616"/>
                  </a:lnTo>
                  <a:lnTo>
                    <a:pt x="301" y="2602"/>
                  </a:lnTo>
                  <a:lnTo>
                    <a:pt x="413" y="2487"/>
                  </a:lnTo>
                  <a:lnTo>
                    <a:pt x="422" y="2473"/>
                  </a:lnTo>
                  <a:lnTo>
                    <a:pt x="430" y="2454"/>
                  </a:lnTo>
                  <a:lnTo>
                    <a:pt x="435" y="2431"/>
                  </a:lnTo>
                  <a:lnTo>
                    <a:pt x="437" y="2405"/>
                  </a:lnTo>
                  <a:lnTo>
                    <a:pt x="436" y="2375"/>
                  </a:lnTo>
                  <a:lnTo>
                    <a:pt x="433" y="2342"/>
                  </a:lnTo>
                  <a:lnTo>
                    <a:pt x="426" y="2306"/>
                  </a:lnTo>
                  <a:lnTo>
                    <a:pt x="415" y="2270"/>
                  </a:lnTo>
                  <a:lnTo>
                    <a:pt x="400" y="2232"/>
                  </a:lnTo>
                  <a:lnTo>
                    <a:pt x="383" y="2194"/>
                  </a:lnTo>
                  <a:lnTo>
                    <a:pt x="364" y="2161"/>
                  </a:lnTo>
                  <a:lnTo>
                    <a:pt x="343" y="2132"/>
                  </a:lnTo>
                  <a:lnTo>
                    <a:pt x="322" y="2106"/>
                  </a:lnTo>
                  <a:lnTo>
                    <a:pt x="301" y="2085"/>
                  </a:lnTo>
                  <a:lnTo>
                    <a:pt x="280" y="2068"/>
                  </a:lnTo>
                  <a:lnTo>
                    <a:pt x="260" y="2056"/>
                  </a:lnTo>
                  <a:lnTo>
                    <a:pt x="242" y="2048"/>
                  </a:lnTo>
                  <a:lnTo>
                    <a:pt x="225" y="2046"/>
                  </a:lnTo>
                  <a:lnTo>
                    <a:pt x="65" y="2046"/>
                  </a:lnTo>
                  <a:lnTo>
                    <a:pt x="45" y="2042"/>
                  </a:lnTo>
                  <a:lnTo>
                    <a:pt x="27" y="2033"/>
                  </a:lnTo>
                  <a:lnTo>
                    <a:pt x="13" y="2020"/>
                  </a:lnTo>
                  <a:lnTo>
                    <a:pt x="4" y="2001"/>
                  </a:lnTo>
                  <a:lnTo>
                    <a:pt x="0" y="1981"/>
                  </a:lnTo>
                  <a:lnTo>
                    <a:pt x="0" y="1390"/>
                  </a:lnTo>
                  <a:lnTo>
                    <a:pt x="3" y="1373"/>
                  </a:lnTo>
                  <a:lnTo>
                    <a:pt x="10" y="1357"/>
                  </a:lnTo>
                  <a:lnTo>
                    <a:pt x="19" y="1344"/>
                  </a:lnTo>
                  <a:lnTo>
                    <a:pt x="32" y="1335"/>
                  </a:lnTo>
                  <a:lnTo>
                    <a:pt x="48" y="1328"/>
                  </a:lnTo>
                  <a:lnTo>
                    <a:pt x="65" y="1326"/>
                  </a:lnTo>
                  <a:lnTo>
                    <a:pt x="225" y="1326"/>
                  </a:lnTo>
                  <a:lnTo>
                    <a:pt x="242" y="1323"/>
                  </a:lnTo>
                  <a:lnTo>
                    <a:pt x="260" y="1316"/>
                  </a:lnTo>
                  <a:lnTo>
                    <a:pt x="280" y="1304"/>
                  </a:lnTo>
                  <a:lnTo>
                    <a:pt x="301" y="1287"/>
                  </a:lnTo>
                  <a:lnTo>
                    <a:pt x="322" y="1265"/>
                  </a:lnTo>
                  <a:lnTo>
                    <a:pt x="343" y="1240"/>
                  </a:lnTo>
                  <a:lnTo>
                    <a:pt x="364" y="1210"/>
                  </a:lnTo>
                  <a:lnTo>
                    <a:pt x="383" y="1177"/>
                  </a:lnTo>
                  <a:lnTo>
                    <a:pt x="400" y="1140"/>
                  </a:lnTo>
                  <a:lnTo>
                    <a:pt x="415" y="1102"/>
                  </a:lnTo>
                  <a:lnTo>
                    <a:pt x="426" y="1065"/>
                  </a:lnTo>
                  <a:lnTo>
                    <a:pt x="433" y="1030"/>
                  </a:lnTo>
                  <a:lnTo>
                    <a:pt x="436" y="997"/>
                  </a:lnTo>
                  <a:lnTo>
                    <a:pt x="437" y="967"/>
                  </a:lnTo>
                  <a:lnTo>
                    <a:pt x="435" y="940"/>
                  </a:lnTo>
                  <a:lnTo>
                    <a:pt x="430" y="918"/>
                  </a:lnTo>
                  <a:lnTo>
                    <a:pt x="422" y="898"/>
                  </a:lnTo>
                  <a:lnTo>
                    <a:pt x="413" y="885"/>
                  </a:lnTo>
                  <a:lnTo>
                    <a:pt x="301" y="769"/>
                  </a:lnTo>
                  <a:lnTo>
                    <a:pt x="291" y="756"/>
                  </a:lnTo>
                  <a:lnTo>
                    <a:pt x="285" y="740"/>
                  </a:lnTo>
                  <a:lnTo>
                    <a:pt x="283" y="724"/>
                  </a:lnTo>
                  <a:lnTo>
                    <a:pt x="285" y="708"/>
                  </a:lnTo>
                  <a:lnTo>
                    <a:pt x="292" y="693"/>
                  </a:lnTo>
                  <a:lnTo>
                    <a:pt x="302" y="679"/>
                  </a:lnTo>
                  <a:lnTo>
                    <a:pt x="728" y="268"/>
                  </a:lnTo>
                  <a:lnTo>
                    <a:pt x="738" y="261"/>
                  </a:lnTo>
                  <a:lnTo>
                    <a:pt x="750" y="255"/>
                  </a:lnTo>
                  <a:lnTo>
                    <a:pt x="762" y="252"/>
                  </a:lnTo>
                  <a:lnTo>
                    <a:pt x="773" y="250"/>
                  </a:lnTo>
                  <a:lnTo>
                    <a:pt x="790" y="252"/>
                  </a:lnTo>
                  <a:lnTo>
                    <a:pt x="805" y="260"/>
                  </a:lnTo>
                  <a:lnTo>
                    <a:pt x="818" y="270"/>
                  </a:lnTo>
                  <a:lnTo>
                    <a:pt x="930" y="385"/>
                  </a:lnTo>
                  <a:lnTo>
                    <a:pt x="945" y="397"/>
                  </a:lnTo>
                  <a:lnTo>
                    <a:pt x="964" y="406"/>
                  </a:lnTo>
                  <a:lnTo>
                    <a:pt x="988" y="412"/>
                  </a:lnTo>
                  <a:lnTo>
                    <a:pt x="1013" y="415"/>
                  </a:lnTo>
                  <a:lnTo>
                    <a:pt x="1042" y="416"/>
                  </a:lnTo>
                  <a:lnTo>
                    <a:pt x="1072" y="414"/>
                  </a:lnTo>
                  <a:lnTo>
                    <a:pt x="1102" y="409"/>
                  </a:lnTo>
                  <a:lnTo>
                    <a:pt x="1133" y="401"/>
                  </a:lnTo>
                  <a:lnTo>
                    <a:pt x="1163" y="391"/>
                  </a:lnTo>
                  <a:lnTo>
                    <a:pt x="1196" y="376"/>
                  </a:lnTo>
                  <a:lnTo>
                    <a:pt x="1227" y="358"/>
                  </a:lnTo>
                  <a:lnTo>
                    <a:pt x="1254" y="337"/>
                  </a:lnTo>
                  <a:lnTo>
                    <a:pt x="1279" y="315"/>
                  </a:lnTo>
                  <a:lnTo>
                    <a:pt x="1298" y="293"/>
                  </a:lnTo>
                  <a:lnTo>
                    <a:pt x="1313" y="269"/>
                  </a:lnTo>
                  <a:lnTo>
                    <a:pt x="1323" y="247"/>
                  </a:lnTo>
                  <a:lnTo>
                    <a:pt x="1326" y="225"/>
                  </a:lnTo>
                  <a:lnTo>
                    <a:pt x="1326" y="64"/>
                  </a:lnTo>
                  <a:lnTo>
                    <a:pt x="1328" y="47"/>
                  </a:lnTo>
                  <a:lnTo>
                    <a:pt x="1334" y="32"/>
                  </a:lnTo>
                  <a:lnTo>
                    <a:pt x="1345" y="20"/>
                  </a:lnTo>
                  <a:lnTo>
                    <a:pt x="1358" y="9"/>
                  </a:lnTo>
                  <a:lnTo>
                    <a:pt x="1373" y="2"/>
                  </a:lnTo>
                  <a:lnTo>
                    <a:pt x="139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8580" tIns="64292" rIns="128580" bIns="64292" numCol="1" anchor="t" anchorCtr="0" compatLnSpc="1">
              <a:prstTxWarp prst="textNoShape">
                <a:avLst/>
              </a:prstTxWarp>
            </a:bodyPr>
            <a:lstStyle/>
            <a:p>
              <a:pPr defTabSz="1248295"/>
              <a:endParaRPr lang="es-SV" sz="11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6" name="Group 26"/>
          <p:cNvGrpSpPr>
            <a:grpSpLocks noChangeAspect="1"/>
          </p:cNvGrpSpPr>
          <p:nvPr/>
        </p:nvGrpSpPr>
        <p:grpSpPr bwMode="auto">
          <a:xfrm>
            <a:off x="6010943" y="2486782"/>
            <a:ext cx="274126" cy="307138"/>
            <a:chOff x="5093" y="-807"/>
            <a:chExt cx="332" cy="372"/>
          </a:xfrm>
          <a:solidFill>
            <a:schemeClr val="bg1"/>
          </a:solidFill>
        </p:grpSpPr>
        <p:sp>
          <p:nvSpPr>
            <p:cNvPr id="37" name="Freeform 28"/>
            <p:cNvSpPr>
              <a:spLocks noEditPoints="1"/>
            </p:cNvSpPr>
            <p:nvPr/>
          </p:nvSpPr>
          <p:spPr bwMode="auto">
            <a:xfrm>
              <a:off x="5148" y="-807"/>
              <a:ext cx="277" cy="277"/>
            </a:xfrm>
            <a:custGeom>
              <a:avLst/>
              <a:gdLst>
                <a:gd name="T0" fmla="*/ 1091 w 2495"/>
                <a:gd name="T1" fmla="*/ 126 h 2494"/>
                <a:gd name="T2" fmla="*/ 864 w 2495"/>
                <a:gd name="T3" fmla="*/ 182 h 2494"/>
                <a:gd name="T4" fmla="*/ 654 w 2495"/>
                <a:gd name="T5" fmla="*/ 282 h 2494"/>
                <a:gd name="T6" fmla="*/ 469 w 2495"/>
                <a:gd name="T7" fmla="*/ 425 h 2494"/>
                <a:gd name="T8" fmla="*/ 314 w 2495"/>
                <a:gd name="T9" fmla="*/ 608 h 2494"/>
                <a:gd name="T10" fmla="*/ 198 w 2495"/>
                <a:gd name="T11" fmla="*/ 821 h 2494"/>
                <a:gd name="T12" fmla="*/ 132 w 2495"/>
                <a:gd name="T13" fmla="*/ 1052 h 2494"/>
                <a:gd name="T14" fmla="*/ 117 w 2495"/>
                <a:gd name="T15" fmla="*/ 1293 h 2494"/>
                <a:gd name="T16" fmla="*/ 152 w 2495"/>
                <a:gd name="T17" fmla="*/ 1535 h 2494"/>
                <a:gd name="T18" fmla="*/ 238 w 2495"/>
                <a:gd name="T19" fmla="*/ 1760 h 2494"/>
                <a:gd name="T20" fmla="*/ 369 w 2495"/>
                <a:gd name="T21" fmla="*/ 1961 h 2494"/>
                <a:gd name="T22" fmla="*/ 543 w 2495"/>
                <a:gd name="T23" fmla="*/ 2133 h 2494"/>
                <a:gd name="T24" fmla="*/ 736 w 2495"/>
                <a:gd name="T25" fmla="*/ 2257 h 2494"/>
                <a:gd name="T26" fmla="*/ 946 w 2495"/>
                <a:gd name="T27" fmla="*/ 2339 h 2494"/>
                <a:gd name="T28" fmla="*/ 1170 w 2495"/>
                <a:gd name="T29" fmla="*/ 2377 h 2494"/>
                <a:gd name="T30" fmla="*/ 1405 w 2495"/>
                <a:gd name="T31" fmla="*/ 2369 h 2494"/>
                <a:gd name="T32" fmla="*/ 1632 w 2495"/>
                <a:gd name="T33" fmla="*/ 2312 h 2494"/>
                <a:gd name="T34" fmla="*/ 1842 w 2495"/>
                <a:gd name="T35" fmla="*/ 2212 h 2494"/>
                <a:gd name="T36" fmla="*/ 2027 w 2495"/>
                <a:gd name="T37" fmla="*/ 2069 h 2494"/>
                <a:gd name="T38" fmla="*/ 2182 w 2495"/>
                <a:gd name="T39" fmla="*/ 1886 h 2494"/>
                <a:gd name="T40" fmla="*/ 2297 w 2495"/>
                <a:gd name="T41" fmla="*/ 1673 h 2494"/>
                <a:gd name="T42" fmla="*/ 2363 w 2495"/>
                <a:gd name="T43" fmla="*/ 1443 h 2494"/>
                <a:gd name="T44" fmla="*/ 2379 w 2495"/>
                <a:gd name="T45" fmla="*/ 1201 h 2494"/>
                <a:gd name="T46" fmla="*/ 2344 w 2495"/>
                <a:gd name="T47" fmla="*/ 959 h 2494"/>
                <a:gd name="T48" fmla="*/ 2258 w 2495"/>
                <a:gd name="T49" fmla="*/ 734 h 2494"/>
                <a:gd name="T50" fmla="*/ 2127 w 2495"/>
                <a:gd name="T51" fmla="*/ 533 h 2494"/>
                <a:gd name="T52" fmla="*/ 1953 w 2495"/>
                <a:gd name="T53" fmla="*/ 361 h 2494"/>
                <a:gd name="T54" fmla="*/ 1760 w 2495"/>
                <a:gd name="T55" fmla="*/ 237 h 2494"/>
                <a:gd name="T56" fmla="*/ 1550 w 2495"/>
                <a:gd name="T57" fmla="*/ 156 h 2494"/>
                <a:gd name="T58" fmla="*/ 1325 w 2495"/>
                <a:gd name="T59" fmla="*/ 118 h 2494"/>
                <a:gd name="T60" fmla="*/ 1334 w 2495"/>
                <a:gd name="T61" fmla="*/ 3 h 2494"/>
                <a:gd name="T62" fmla="*/ 1580 w 2495"/>
                <a:gd name="T63" fmla="*/ 44 h 2494"/>
                <a:gd name="T64" fmla="*/ 1812 w 2495"/>
                <a:gd name="T65" fmla="*/ 134 h 2494"/>
                <a:gd name="T66" fmla="*/ 2024 w 2495"/>
                <a:gd name="T67" fmla="*/ 271 h 2494"/>
                <a:gd name="T68" fmla="*/ 2201 w 2495"/>
                <a:gd name="T69" fmla="*/ 443 h 2494"/>
                <a:gd name="T70" fmla="*/ 2339 w 2495"/>
                <a:gd name="T71" fmla="*/ 643 h 2494"/>
                <a:gd name="T72" fmla="*/ 2436 w 2495"/>
                <a:gd name="T73" fmla="*/ 865 h 2494"/>
                <a:gd name="T74" fmla="*/ 2487 w 2495"/>
                <a:gd name="T75" fmla="*/ 1107 h 2494"/>
                <a:gd name="T76" fmla="*/ 2491 w 2495"/>
                <a:gd name="T77" fmla="*/ 1353 h 2494"/>
                <a:gd name="T78" fmla="*/ 2447 w 2495"/>
                <a:gd name="T79" fmla="*/ 1592 h 2494"/>
                <a:gd name="T80" fmla="*/ 2358 w 2495"/>
                <a:gd name="T81" fmla="*/ 1817 h 2494"/>
                <a:gd name="T82" fmla="*/ 2224 w 2495"/>
                <a:gd name="T83" fmla="*/ 2024 h 2494"/>
                <a:gd name="T84" fmla="*/ 2056 w 2495"/>
                <a:gd name="T85" fmla="*/ 2198 h 2494"/>
                <a:gd name="T86" fmla="*/ 1860 w 2495"/>
                <a:gd name="T87" fmla="*/ 2334 h 2494"/>
                <a:gd name="T88" fmla="*/ 1643 w 2495"/>
                <a:gd name="T89" fmla="*/ 2430 h 2494"/>
                <a:gd name="T90" fmla="*/ 1409 w 2495"/>
                <a:gd name="T91" fmla="*/ 2484 h 2494"/>
                <a:gd name="T92" fmla="*/ 1162 w 2495"/>
                <a:gd name="T93" fmla="*/ 2491 h 2494"/>
                <a:gd name="T94" fmla="*/ 915 w 2495"/>
                <a:gd name="T95" fmla="*/ 2450 h 2494"/>
                <a:gd name="T96" fmla="*/ 683 w 2495"/>
                <a:gd name="T97" fmla="*/ 2360 h 2494"/>
                <a:gd name="T98" fmla="*/ 471 w 2495"/>
                <a:gd name="T99" fmla="*/ 2223 h 2494"/>
                <a:gd name="T100" fmla="*/ 294 w 2495"/>
                <a:gd name="T101" fmla="*/ 2051 h 2494"/>
                <a:gd name="T102" fmla="*/ 156 w 2495"/>
                <a:gd name="T103" fmla="*/ 1851 h 2494"/>
                <a:gd name="T104" fmla="*/ 60 w 2495"/>
                <a:gd name="T105" fmla="*/ 1629 h 2494"/>
                <a:gd name="T106" fmla="*/ 9 w 2495"/>
                <a:gd name="T107" fmla="*/ 1388 h 2494"/>
                <a:gd name="T108" fmla="*/ 5 w 2495"/>
                <a:gd name="T109" fmla="*/ 1141 h 2494"/>
                <a:gd name="T110" fmla="*/ 49 w 2495"/>
                <a:gd name="T111" fmla="*/ 902 h 2494"/>
                <a:gd name="T112" fmla="*/ 138 w 2495"/>
                <a:gd name="T113" fmla="*/ 677 h 2494"/>
                <a:gd name="T114" fmla="*/ 272 w 2495"/>
                <a:gd name="T115" fmla="*/ 470 h 2494"/>
                <a:gd name="T116" fmla="*/ 440 w 2495"/>
                <a:gd name="T117" fmla="*/ 296 h 2494"/>
                <a:gd name="T118" fmla="*/ 635 w 2495"/>
                <a:gd name="T119" fmla="*/ 160 h 2494"/>
                <a:gd name="T120" fmla="*/ 853 w 2495"/>
                <a:gd name="T121" fmla="*/ 64 h 2494"/>
                <a:gd name="T122" fmla="*/ 1087 w 2495"/>
                <a:gd name="T123" fmla="*/ 10 h 2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495" h="2494">
                  <a:moveTo>
                    <a:pt x="1249" y="115"/>
                  </a:moveTo>
                  <a:lnTo>
                    <a:pt x="1169" y="118"/>
                  </a:lnTo>
                  <a:lnTo>
                    <a:pt x="1091" y="126"/>
                  </a:lnTo>
                  <a:lnTo>
                    <a:pt x="1013" y="139"/>
                  </a:lnTo>
                  <a:lnTo>
                    <a:pt x="937" y="158"/>
                  </a:lnTo>
                  <a:lnTo>
                    <a:pt x="864" y="182"/>
                  </a:lnTo>
                  <a:lnTo>
                    <a:pt x="791" y="210"/>
                  </a:lnTo>
                  <a:lnTo>
                    <a:pt x="721" y="244"/>
                  </a:lnTo>
                  <a:lnTo>
                    <a:pt x="654" y="282"/>
                  </a:lnTo>
                  <a:lnTo>
                    <a:pt x="589" y="325"/>
                  </a:lnTo>
                  <a:lnTo>
                    <a:pt x="527" y="374"/>
                  </a:lnTo>
                  <a:lnTo>
                    <a:pt x="469" y="425"/>
                  </a:lnTo>
                  <a:lnTo>
                    <a:pt x="414" y="481"/>
                  </a:lnTo>
                  <a:lnTo>
                    <a:pt x="362" y="542"/>
                  </a:lnTo>
                  <a:lnTo>
                    <a:pt x="314" y="608"/>
                  </a:lnTo>
                  <a:lnTo>
                    <a:pt x="270" y="677"/>
                  </a:lnTo>
                  <a:lnTo>
                    <a:pt x="231" y="747"/>
                  </a:lnTo>
                  <a:lnTo>
                    <a:pt x="198" y="821"/>
                  </a:lnTo>
                  <a:lnTo>
                    <a:pt x="171" y="896"/>
                  </a:lnTo>
                  <a:lnTo>
                    <a:pt x="149" y="974"/>
                  </a:lnTo>
                  <a:lnTo>
                    <a:pt x="132" y="1052"/>
                  </a:lnTo>
                  <a:lnTo>
                    <a:pt x="121" y="1132"/>
                  </a:lnTo>
                  <a:lnTo>
                    <a:pt x="116" y="1212"/>
                  </a:lnTo>
                  <a:lnTo>
                    <a:pt x="117" y="1293"/>
                  </a:lnTo>
                  <a:lnTo>
                    <a:pt x="123" y="1375"/>
                  </a:lnTo>
                  <a:lnTo>
                    <a:pt x="136" y="1456"/>
                  </a:lnTo>
                  <a:lnTo>
                    <a:pt x="152" y="1535"/>
                  </a:lnTo>
                  <a:lnTo>
                    <a:pt x="176" y="1613"/>
                  </a:lnTo>
                  <a:lnTo>
                    <a:pt x="205" y="1688"/>
                  </a:lnTo>
                  <a:lnTo>
                    <a:pt x="238" y="1760"/>
                  </a:lnTo>
                  <a:lnTo>
                    <a:pt x="277" y="1830"/>
                  </a:lnTo>
                  <a:lnTo>
                    <a:pt x="321" y="1897"/>
                  </a:lnTo>
                  <a:lnTo>
                    <a:pt x="369" y="1961"/>
                  </a:lnTo>
                  <a:lnTo>
                    <a:pt x="423" y="2022"/>
                  </a:lnTo>
                  <a:lnTo>
                    <a:pt x="480" y="2080"/>
                  </a:lnTo>
                  <a:lnTo>
                    <a:pt x="543" y="2133"/>
                  </a:lnTo>
                  <a:lnTo>
                    <a:pt x="605" y="2179"/>
                  </a:lnTo>
                  <a:lnTo>
                    <a:pt x="669" y="2220"/>
                  </a:lnTo>
                  <a:lnTo>
                    <a:pt x="736" y="2257"/>
                  </a:lnTo>
                  <a:lnTo>
                    <a:pt x="804" y="2289"/>
                  </a:lnTo>
                  <a:lnTo>
                    <a:pt x="874" y="2316"/>
                  </a:lnTo>
                  <a:lnTo>
                    <a:pt x="946" y="2339"/>
                  </a:lnTo>
                  <a:lnTo>
                    <a:pt x="1020" y="2356"/>
                  </a:lnTo>
                  <a:lnTo>
                    <a:pt x="1094" y="2369"/>
                  </a:lnTo>
                  <a:lnTo>
                    <a:pt x="1170" y="2377"/>
                  </a:lnTo>
                  <a:lnTo>
                    <a:pt x="1247" y="2379"/>
                  </a:lnTo>
                  <a:lnTo>
                    <a:pt x="1326" y="2376"/>
                  </a:lnTo>
                  <a:lnTo>
                    <a:pt x="1405" y="2369"/>
                  </a:lnTo>
                  <a:lnTo>
                    <a:pt x="1483" y="2355"/>
                  </a:lnTo>
                  <a:lnTo>
                    <a:pt x="1559" y="2336"/>
                  </a:lnTo>
                  <a:lnTo>
                    <a:pt x="1632" y="2312"/>
                  </a:lnTo>
                  <a:lnTo>
                    <a:pt x="1705" y="2284"/>
                  </a:lnTo>
                  <a:lnTo>
                    <a:pt x="1775" y="2250"/>
                  </a:lnTo>
                  <a:lnTo>
                    <a:pt x="1842" y="2212"/>
                  </a:lnTo>
                  <a:lnTo>
                    <a:pt x="1907" y="2169"/>
                  </a:lnTo>
                  <a:lnTo>
                    <a:pt x="1969" y="2120"/>
                  </a:lnTo>
                  <a:lnTo>
                    <a:pt x="2027" y="2069"/>
                  </a:lnTo>
                  <a:lnTo>
                    <a:pt x="2083" y="2013"/>
                  </a:lnTo>
                  <a:lnTo>
                    <a:pt x="2134" y="1952"/>
                  </a:lnTo>
                  <a:lnTo>
                    <a:pt x="2182" y="1886"/>
                  </a:lnTo>
                  <a:lnTo>
                    <a:pt x="2226" y="1818"/>
                  </a:lnTo>
                  <a:lnTo>
                    <a:pt x="2265" y="1747"/>
                  </a:lnTo>
                  <a:lnTo>
                    <a:pt x="2297" y="1673"/>
                  </a:lnTo>
                  <a:lnTo>
                    <a:pt x="2325" y="1598"/>
                  </a:lnTo>
                  <a:lnTo>
                    <a:pt x="2347" y="1520"/>
                  </a:lnTo>
                  <a:lnTo>
                    <a:pt x="2363" y="1443"/>
                  </a:lnTo>
                  <a:lnTo>
                    <a:pt x="2375" y="1363"/>
                  </a:lnTo>
                  <a:lnTo>
                    <a:pt x="2380" y="1283"/>
                  </a:lnTo>
                  <a:lnTo>
                    <a:pt x="2379" y="1201"/>
                  </a:lnTo>
                  <a:lnTo>
                    <a:pt x="2373" y="1119"/>
                  </a:lnTo>
                  <a:lnTo>
                    <a:pt x="2361" y="1038"/>
                  </a:lnTo>
                  <a:lnTo>
                    <a:pt x="2344" y="959"/>
                  </a:lnTo>
                  <a:lnTo>
                    <a:pt x="2319" y="882"/>
                  </a:lnTo>
                  <a:lnTo>
                    <a:pt x="2291" y="806"/>
                  </a:lnTo>
                  <a:lnTo>
                    <a:pt x="2258" y="734"/>
                  </a:lnTo>
                  <a:lnTo>
                    <a:pt x="2219" y="664"/>
                  </a:lnTo>
                  <a:lnTo>
                    <a:pt x="2175" y="597"/>
                  </a:lnTo>
                  <a:lnTo>
                    <a:pt x="2127" y="533"/>
                  </a:lnTo>
                  <a:lnTo>
                    <a:pt x="2073" y="472"/>
                  </a:lnTo>
                  <a:lnTo>
                    <a:pt x="2016" y="414"/>
                  </a:lnTo>
                  <a:lnTo>
                    <a:pt x="1953" y="361"/>
                  </a:lnTo>
                  <a:lnTo>
                    <a:pt x="1891" y="315"/>
                  </a:lnTo>
                  <a:lnTo>
                    <a:pt x="1827" y="274"/>
                  </a:lnTo>
                  <a:lnTo>
                    <a:pt x="1760" y="237"/>
                  </a:lnTo>
                  <a:lnTo>
                    <a:pt x="1692" y="205"/>
                  </a:lnTo>
                  <a:lnTo>
                    <a:pt x="1622" y="178"/>
                  </a:lnTo>
                  <a:lnTo>
                    <a:pt x="1550" y="156"/>
                  </a:lnTo>
                  <a:lnTo>
                    <a:pt x="1476" y="138"/>
                  </a:lnTo>
                  <a:lnTo>
                    <a:pt x="1402" y="125"/>
                  </a:lnTo>
                  <a:lnTo>
                    <a:pt x="1325" y="118"/>
                  </a:lnTo>
                  <a:lnTo>
                    <a:pt x="1249" y="115"/>
                  </a:lnTo>
                  <a:close/>
                  <a:moveTo>
                    <a:pt x="1249" y="0"/>
                  </a:moveTo>
                  <a:lnTo>
                    <a:pt x="1334" y="3"/>
                  </a:lnTo>
                  <a:lnTo>
                    <a:pt x="1418" y="11"/>
                  </a:lnTo>
                  <a:lnTo>
                    <a:pt x="1499" y="25"/>
                  </a:lnTo>
                  <a:lnTo>
                    <a:pt x="1580" y="44"/>
                  </a:lnTo>
                  <a:lnTo>
                    <a:pt x="1660" y="69"/>
                  </a:lnTo>
                  <a:lnTo>
                    <a:pt x="1737" y="99"/>
                  </a:lnTo>
                  <a:lnTo>
                    <a:pt x="1812" y="134"/>
                  </a:lnTo>
                  <a:lnTo>
                    <a:pt x="1886" y="175"/>
                  </a:lnTo>
                  <a:lnTo>
                    <a:pt x="1956" y="221"/>
                  </a:lnTo>
                  <a:lnTo>
                    <a:pt x="2024" y="271"/>
                  </a:lnTo>
                  <a:lnTo>
                    <a:pt x="2088" y="324"/>
                  </a:lnTo>
                  <a:lnTo>
                    <a:pt x="2147" y="382"/>
                  </a:lnTo>
                  <a:lnTo>
                    <a:pt x="2201" y="443"/>
                  </a:lnTo>
                  <a:lnTo>
                    <a:pt x="2252" y="507"/>
                  </a:lnTo>
                  <a:lnTo>
                    <a:pt x="2299" y="573"/>
                  </a:lnTo>
                  <a:lnTo>
                    <a:pt x="2339" y="643"/>
                  </a:lnTo>
                  <a:lnTo>
                    <a:pt x="2376" y="714"/>
                  </a:lnTo>
                  <a:lnTo>
                    <a:pt x="2408" y="788"/>
                  </a:lnTo>
                  <a:lnTo>
                    <a:pt x="2436" y="865"/>
                  </a:lnTo>
                  <a:lnTo>
                    <a:pt x="2458" y="943"/>
                  </a:lnTo>
                  <a:lnTo>
                    <a:pt x="2476" y="1024"/>
                  </a:lnTo>
                  <a:lnTo>
                    <a:pt x="2487" y="1107"/>
                  </a:lnTo>
                  <a:lnTo>
                    <a:pt x="2494" y="1188"/>
                  </a:lnTo>
                  <a:lnTo>
                    <a:pt x="2495" y="1271"/>
                  </a:lnTo>
                  <a:lnTo>
                    <a:pt x="2491" y="1353"/>
                  </a:lnTo>
                  <a:lnTo>
                    <a:pt x="2482" y="1433"/>
                  </a:lnTo>
                  <a:lnTo>
                    <a:pt x="2467" y="1513"/>
                  </a:lnTo>
                  <a:lnTo>
                    <a:pt x="2447" y="1592"/>
                  </a:lnTo>
                  <a:lnTo>
                    <a:pt x="2423" y="1668"/>
                  </a:lnTo>
                  <a:lnTo>
                    <a:pt x="2393" y="1743"/>
                  </a:lnTo>
                  <a:lnTo>
                    <a:pt x="2358" y="1817"/>
                  </a:lnTo>
                  <a:lnTo>
                    <a:pt x="2318" y="1888"/>
                  </a:lnTo>
                  <a:lnTo>
                    <a:pt x="2273" y="1957"/>
                  </a:lnTo>
                  <a:lnTo>
                    <a:pt x="2224" y="2024"/>
                  </a:lnTo>
                  <a:lnTo>
                    <a:pt x="2171" y="2086"/>
                  </a:lnTo>
                  <a:lnTo>
                    <a:pt x="2115" y="2143"/>
                  </a:lnTo>
                  <a:lnTo>
                    <a:pt x="2056" y="2198"/>
                  </a:lnTo>
                  <a:lnTo>
                    <a:pt x="1994" y="2247"/>
                  </a:lnTo>
                  <a:lnTo>
                    <a:pt x="1928" y="2293"/>
                  </a:lnTo>
                  <a:lnTo>
                    <a:pt x="1860" y="2334"/>
                  </a:lnTo>
                  <a:lnTo>
                    <a:pt x="1789" y="2371"/>
                  </a:lnTo>
                  <a:lnTo>
                    <a:pt x="1717" y="2403"/>
                  </a:lnTo>
                  <a:lnTo>
                    <a:pt x="1643" y="2430"/>
                  </a:lnTo>
                  <a:lnTo>
                    <a:pt x="1566" y="2453"/>
                  </a:lnTo>
                  <a:lnTo>
                    <a:pt x="1489" y="2471"/>
                  </a:lnTo>
                  <a:lnTo>
                    <a:pt x="1409" y="2484"/>
                  </a:lnTo>
                  <a:lnTo>
                    <a:pt x="1329" y="2491"/>
                  </a:lnTo>
                  <a:lnTo>
                    <a:pt x="1247" y="2494"/>
                  </a:lnTo>
                  <a:lnTo>
                    <a:pt x="1162" y="2491"/>
                  </a:lnTo>
                  <a:lnTo>
                    <a:pt x="1078" y="2483"/>
                  </a:lnTo>
                  <a:lnTo>
                    <a:pt x="997" y="2469"/>
                  </a:lnTo>
                  <a:lnTo>
                    <a:pt x="915" y="2450"/>
                  </a:lnTo>
                  <a:lnTo>
                    <a:pt x="836" y="2425"/>
                  </a:lnTo>
                  <a:lnTo>
                    <a:pt x="759" y="2395"/>
                  </a:lnTo>
                  <a:lnTo>
                    <a:pt x="683" y="2360"/>
                  </a:lnTo>
                  <a:lnTo>
                    <a:pt x="610" y="2319"/>
                  </a:lnTo>
                  <a:lnTo>
                    <a:pt x="540" y="2273"/>
                  </a:lnTo>
                  <a:lnTo>
                    <a:pt x="471" y="2223"/>
                  </a:lnTo>
                  <a:lnTo>
                    <a:pt x="408" y="2170"/>
                  </a:lnTo>
                  <a:lnTo>
                    <a:pt x="349" y="2112"/>
                  </a:lnTo>
                  <a:lnTo>
                    <a:pt x="294" y="2051"/>
                  </a:lnTo>
                  <a:lnTo>
                    <a:pt x="243" y="1987"/>
                  </a:lnTo>
                  <a:lnTo>
                    <a:pt x="197" y="1921"/>
                  </a:lnTo>
                  <a:lnTo>
                    <a:pt x="156" y="1851"/>
                  </a:lnTo>
                  <a:lnTo>
                    <a:pt x="120" y="1780"/>
                  </a:lnTo>
                  <a:lnTo>
                    <a:pt x="87" y="1706"/>
                  </a:lnTo>
                  <a:lnTo>
                    <a:pt x="60" y="1629"/>
                  </a:lnTo>
                  <a:lnTo>
                    <a:pt x="38" y="1551"/>
                  </a:lnTo>
                  <a:lnTo>
                    <a:pt x="20" y="1470"/>
                  </a:lnTo>
                  <a:lnTo>
                    <a:pt x="9" y="1388"/>
                  </a:lnTo>
                  <a:lnTo>
                    <a:pt x="1" y="1306"/>
                  </a:lnTo>
                  <a:lnTo>
                    <a:pt x="0" y="1223"/>
                  </a:lnTo>
                  <a:lnTo>
                    <a:pt x="5" y="1141"/>
                  </a:lnTo>
                  <a:lnTo>
                    <a:pt x="14" y="1061"/>
                  </a:lnTo>
                  <a:lnTo>
                    <a:pt x="29" y="981"/>
                  </a:lnTo>
                  <a:lnTo>
                    <a:pt x="49" y="902"/>
                  </a:lnTo>
                  <a:lnTo>
                    <a:pt x="73" y="826"/>
                  </a:lnTo>
                  <a:lnTo>
                    <a:pt x="103" y="751"/>
                  </a:lnTo>
                  <a:lnTo>
                    <a:pt x="138" y="677"/>
                  </a:lnTo>
                  <a:lnTo>
                    <a:pt x="177" y="606"/>
                  </a:lnTo>
                  <a:lnTo>
                    <a:pt x="222" y="537"/>
                  </a:lnTo>
                  <a:lnTo>
                    <a:pt x="272" y="470"/>
                  </a:lnTo>
                  <a:lnTo>
                    <a:pt x="324" y="408"/>
                  </a:lnTo>
                  <a:lnTo>
                    <a:pt x="381" y="351"/>
                  </a:lnTo>
                  <a:lnTo>
                    <a:pt x="440" y="296"/>
                  </a:lnTo>
                  <a:lnTo>
                    <a:pt x="502" y="246"/>
                  </a:lnTo>
                  <a:lnTo>
                    <a:pt x="568" y="201"/>
                  </a:lnTo>
                  <a:lnTo>
                    <a:pt x="635" y="160"/>
                  </a:lnTo>
                  <a:lnTo>
                    <a:pt x="706" y="123"/>
                  </a:lnTo>
                  <a:lnTo>
                    <a:pt x="779" y="91"/>
                  </a:lnTo>
                  <a:lnTo>
                    <a:pt x="853" y="64"/>
                  </a:lnTo>
                  <a:lnTo>
                    <a:pt x="929" y="41"/>
                  </a:lnTo>
                  <a:lnTo>
                    <a:pt x="1007" y="23"/>
                  </a:lnTo>
                  <a:lnTo>
                    <a:pt x="1087" y="10"/>
                  </a:lnTo>
                  <a:lnTo>
                    <a:pt x="1167" y="3"/>
                  </a:lnTo>
                  <a:lnTo>
                    <a:pt x="12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8580" tIns="64292" rIns="128580" bIns="64292" numCol="1" anchor="t" anchorCtr="0" compatLnSpc="1">
              <a:prstTxWarp prst="textNoShape">
                <a:avLst/>
              </a:prstTxWarp>
            </a:bodyPr>
            <a:lstStyle/>
            <a:p>
              <a:pPr defTabSz="1248295"/>
              <a:endParaRPr lang="es-SV" sz="11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38" name="Freeform 29"/>
            <p:cNvSpPr>
              <a:spLocks/>
            </p:cNvSpPr>
            <p:nvPr/>
          </p:nvSpPr>
          <p:spPr bwMode="auto">
            <a:xfrm>
              <a:off x="5177" y="-778"/>
              <a:ext cx="180" cy="197"/>
            </a:xfrm>
            <a:custGeom>
              <a:avLst/>
              <a:gdLst>
                <a:gd name="T0" fmla="*/ 1082 w 1623"/>
                <a:gd name="T1" fmla="*/ 5 h 1771"/>
                <a:gd name="T2" fmla="*/ 1219 w 1623"/>
                <a:gd name="T3" fmla="*/ 28 h 1771"/>
                <a:gd name="T4" fmla="*/ 1352 w 1623"/>
                <a:gd name="T5" fmla="*/ 71 h 1771"/>
                <a:gd name="T6" fmla="*/ 1481 w 1623"/>
                <a:gd name="T7" fmla="*/ 132 h 1771"/>
                <a:gd name="T8" fmla="*/ 1602 w 1623"/>
                <a:gd name="T9" fmla="*/ 215 h 1771"/>
                <a:gd name="T10" fmla="*/ 1620 w 1623"/>
                <a:gd name="T11" fmla="*/ 239 h 1771"/>
                <a:gd name="T12" fmla="*/ 1623 w 1623"/>
                <a:gd name="T13" fmla="*/ 268 h 1771"/>
                <a:gd name="T14" fmla="*/ 1611 w 1623"/>
                <a:gd name="T15" fmla="*/ 296 h 1771"/>
                <a:gd name="T16" fmla="*/ 1587 w 1623"/>
                <a:gd name="T17" fmla="*/ 314 h 1771"/>
                <a:gd name="T18" fmla="*/ 1558 w 1623"/>
                <a:gd name="T19" fmla="*/ 317 h 1771"/>
                <a:gd name="T20" fmla="*/ 1529 w 1623"/>
                <a:gd name="T21" fmla="*/ 305 h 1771"/>
                <a:gd name="T22" fmla="*/ 1418 w 1623"/>
                <a:gd name="T23" fmla="*/ 229 h 1771"/>
                <a:gd name="T24" fmla="*/ 1299 w 1623"/>
                <a:gd name="T25" fmla="*/ 173 h 1771"/>
                <a:gd name="T26" fmla="*/ 1174 w 1623"/>
                <a:gd name="T27" fmla="*/ 136 h 1771"/>
                <a:gd name="T28" fmla="*/ 1048 w 1623"/>
                <a:gd name="T29" fmla="*/ 118 h 1771"/>
                <a:gd name="T30" fmla="*/ 920 w 1623"/>
                <a:gd name="T31" fmla="*/ 118 h 1771"/>
                <a:gd name="T32" fmla="*/ 794 w 1623"/>
                <a:gd name="T33" fmla="*/ 138 h 1771"/>
                <a:gd name="T34" fmla="*/ 672 w 1623"/>
                <a:gd name="T35" fmla="*/ 174 h 1771"/>
                <a:gd name="T36" fmla="*/ 555 w 1623"/>
                <a:gd name="T37" fmla="*/ 230 h 1771"/>
                <a:gd name="T38" fmla="*/ 446 w 1623"/>
                <a:gd name="T39" fmla="*/ 302 h 1771"/>
                <a:gd name="T40" fmla="*/ 349 w 1623"/>
                <a:gd name="T41" fmla="*/ 392 h 1771"/>
                <a:gd name="T42" fmla="*/ 263 w 1623"/>
                <a:gd name="T43" fmla="*/ 500 h 1771"/>
                <a:gd name="T44" fmla="*/ 196 w 1623"/>
                <a:gd name="T45" fmla="*/ 619 h 1771"/>
                <a:gd name="T46" fmla="*/ 148 w 1623"/>
                <a:gd name="T47" fmla="*/ 746 h 1771"/>
                <a:gd name="T48" fmla="*/ 121 w 1623"/>
                <a:gd name="T49" fmla="*/ 879 h 1771"/>
                <a:gd name="T50" fmla="*/ 115 w 1623"/>
                <a:gd name="T51" fmla="*/ 1016 h 1771"/>
                <a:gd name="T52" fmla="*/ 131 w 1623"/>
                <a:gd name="T53" fmla="*/ 1155 h 1771"/>
                <a:gd name="T54" fmla="*/ 168 w 1623"/>
                <a:gd name="T55" fmla="*/ 1287 h 1771"/>
                <a:gd name="T56" fmla="*/ 223 w 1623"/>
                <a:gd name="T57" fmla="*/ 1410 h 1771"/>
                <a:gd name="T58" fmla="*/ 299 w 1623"/>
                <a:gd name="T59" fmla="*/ 1523 h 1771"/>
                <a:gd name="T60" fmla="*/ 391 w 1623"/>
                <a:gd name="T61" fmla="*/ 1624 h 1771"/>
                <a:gd name="T62" fmla="*/ 455 w 1623"/>
                <a:gd name="T63" fmla="*/ 1680 h 1771"/>
                <a:gd name="T64" fmla="*/ 465 w 1623"/>
                <a:gd name="T65" fmla="*/ 1708 h 1771"/>
                <a:gd name="T66" fmla="*/ 461 w 1623"/>
                <a:gd name="T67" fmla="*/ 1737 h 1771"/>
                <a:gd name="T68" fmla="*/ 443 w 1623"/>
                <a:gd name="T69" fmla="*/ 1760 h 1771"/>
                <a:gd name="T70" fmla="*/ 420 w 1623"/>
                <a:gd name="T71" fmla="*/ 1770 h 1771"/>
                <a:gd name="T72" fmla="*/ 395 w 1623"/>
                <a:gd name="T73" fmla="*/ 1770 h 1771"/>
                <a:gd name="T74" fmla="*/ 372 w 1623"/>
                <a:gd name="T75" fmla="*/ 1760 h 1771"/>
                <a:gd name="T76" fmla="*/ 267 w 1623"/>
                <a:gd name="T77" fmla="*/ 1664 h 1771"/>
                <a:gd name="T78" fmla="*/ 178 w 1623"/>
                <a:gd name="T79" fmla="*/ 1555 h 1771"/>
                <a:gd name="T80" fmla="*/ 106 w 1623"/>
                <a:gd name="T81" fmla="*/ 1435 h 1771"/>
                <a:gd name="T82" fmla="*/ 53 w 1623"/>
                <a:gd name="T83" fmla="*/ 1306 h 1771"/>
                <a:gd name="T84" fmla="*/ 17 w 1623"/>
                <a:gd name="T85" fmla="*/ 1169 h 1771"/>
                <a:gd name="T86" fmla="*/ 0 w 1623"/>
                <a:gd name="T87" fmla="*/ 1027 h 1771"/>
                <a:gd name="T88" fmla="*/ 4 w 1623"/>
                <a:gd name="T89" fmla="*/ 886 h 1771"/>
                <a:gd name="T90" fmla="*/ 28 w 1623"/>
                <a:gd name="T91" fmla="*/ 748 h 1771"/>
                <a:gd name="T92" fmla="*/ 71 w 1623"/>
                <a:gd name="T93" fmla="*/ 615 h 1771"/>
                <a:gd name="T94" fmla="*/ 134 w 1623"/>
                <a:gd name="T95" fmla="*/ 490 h 1771"/>
                <a:gd name="T96" fmla="*/ 215 w 1623"/>
                <a:gd name="T97" fmla="*/ 372 h 1771"/>
                <a:gd name="T98" fmla="*/ 313 w 1623"/>
                <a:gd name="T99" fmla="*/ 265 h 1771"/>
                <a:gd name="T100" fmla="*/ 424 w 1623"/>
                <a:gd name="T101" fmla="*/ 175 h 1771"/>
                <a:gd name="T102" fmla="*/ 545 w 1623"/>
                <a:gd name="T103" fmla="*/ 104 h 1771"/>
                <a:gd name="T104" fmla="*/ 674 w 1623"/>
                <a:gd name="T105" fmla="*/ 52 h 1771"/>
                <a:gd name="T106" fmla="*/ 807 w 1623"/>
                <a:gd name="T107" fmla="*/ 17 h 1771"/>
                <a:gd name="T108" fmla="*/ 944 w 1623"/>
                <a:gd name="T109" fmla="*/ 2 h 17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623" h="1771">
                  <a:moveTo>
                    <a:pt x="1013" y="0"/>
                  </a:moveTo>
                  <a:lnTo>
                    <a:pt x="1082" y="5"/>
                  </a:lnTo>
                  <a:lnTo>
                    <a:pt x="1150" y="14"/>
                  </a:lnTo>
                  <a:lnTo>
                    <a:pt x="1219" y="28"/>
                  </a:lnTo>
                  <a:lnTo>
                    <a:pt x="1286" y="47"/>
                  </a:lnTo>
                  <a:lnTo>
                    <a:pt x="1352" y="71"/>
                  </a:lnTo>
                  <a:lnTo>
                    <a:pt x="1417" y="99"/>
                  </a:lnTo>
                  <a:lnTo>
                    <a:pt x="1481" y="132"/>
                  </a:lnTo>
                  <a:lnTo>
                    <a:pt x="1542" y="171"/>
                  </a:lnTo>
                  <a:lnTo>
                    <a:pt x="1602" y="215"/>
                  </a:lnTo>
                  <a:lnTo>
                    <a:pt x="1612" y="226"/>
                  </a:lnTo>
                  <a:lnTo>
                    <a:pt x="1620" y="239"/>
                  </a:lnTo>
                  <a:lnTo>
                    <a:pt x="1623" y="253"/>
                  </a:lnTo>
                  <a:lnTo>
                    <a:pt x="1623" y="268"/>
                  </a:lnTo>
                  <a:lnTo>
                    <a:pt x="1619" y="282"/>
                  </a:lnTo>
                  <a:lnTo>
                    <a:pt x="1611" y="296"/>
                  </a:lnTo>
                  <a:lnTo>
                    <a:pt x="1600" y="306"/>
                  </a:lnTo>
                  <a:lnTo>
                    <a:pt x="1587" y="314"/>
                  </a:lnTo>
                  <a:lnTo>
                    <a:pt x="1572" y="317"/>
                  </a:lnTo>
                  <a:lnTo>
                    <a:pt x="1558" y="317"/>
                  </a:lnTo>
                  <a:lnTo>
                    <a:pt x="1543" y="313"/>
                  </a:lnTo>
                  <a:lnTo>
                    <a:pt x="1529" y="305"/>
                  </a:lnTo>
                  <a:lnTo>
                    <a:pt x="1475" y="264"/>
                  </a:lnTo>
                  <a:lnTo>
                    <a:pt x="1418" y="229"/>
                  </a:lnTo>
                  <a:lnTo>
                    <a:pt x="1359" y="198"/>
                  </a:lnTo>
                  <a:lnTo>
                    <a:pt x="1299" y="173"/>
                  </a:lnTo>
                  <a:lnTo>
                    <a:pt x="1237" y="152"/>
                  </a:lnTo>
                  <a:lnTo>
                    <a:pt x="1174" y="136"/>
                  </a:lnTo>
                  <a:lnTo>
                    <a:pt x="1112" y="124"/>
                  </a:lnTo>
                  <a:lnTo>
                    <a:pt x="1048" y="118"/>
                  </a:lnTo>
                  <a:lnTo>
                    <a:pt x="984" y="116"/>
                  </a:lnTo>
                  <a:lnTo>
                    <a:pt x="920" y="118"/>
                  </a:lnTo>
                  <a:lnTo>
                    <a:pt x="857" y="125"/>
                  </a:lnTo>
                  <a:lnTo>
                    <a:pt x="794" y="138"/>
                  </a:lnTo>
                  <a:lnTo>
                    <a:pt x="732" y="153"/>
                  </a:lnTo>
                  <a:lnTo>
                    <a:pt x="672" y="174"/>
                  </a:lnTo>
                  <a:lnTo>
                    <a:pt x="613" y="199"/>
                  </a:lnTo>
                  <a:lnTo>
                    <a:pt x="555" y="230"/>
                  </a:lnTo>
                  <a:lnTo>
                    <a:pt x="500" y="263"/>
                  </a:lnTo>
                  <a:lnTo>
                    <a:pt x="446" y="302"/>
                  </a:lnTo>
                  <a:lnTo>
                    <a:pt x="396" y="345"/>
                  </a:lnTo>
                  <a:lnTo>
                    <a:pt x="349" y="392"/>
                  </a:lnTo>
                  <a:lnTo>
                    <a:pt x="304" y="445"/>
                  </a:lnTo>
                  <a:lnTo>
                    <a:pt x="263" y="500"/>
                  </a:lnTo>
                  <a:lnTo>
                    <a:pt x="228" y="559"/>
                  </a:lnTo>
                  <a:lnTo>
                    <a:pt x="196" y="619"/>
                  </a:lnTo>
                  <a:lnTo>
                    <a:pt x="170" y="682"/>
                  </a:lnTo>
                  <a:lnTo>
                    <a:pt x="148" y="746"/>
                  </a:lnTo>
                  <a:lnTo>
                    <a:pt x="132" y="812"/>
                  </a:lnTo>
                  <a:lnTo>
                    <a:pt x="121" y="879"/>
                  </a:lnTo>
                  <a:lnTo>
                    <a:pt x="115" y="947"/>
                  </a:lnTo>
                  <a:lnTo>
                    <a:pt x="115" y="1016"/>
                  </a:lnTo>
                  <a:lnTo>
                    <a:pt x="121" y="1085"/>
                  </a:lnTo>
                  <a:lnTo>
                    <a:pt x="131" y="1155"/>
                  </a:lnTo>
                  <a:lnTo>
                    <a:pt x="147" y="1222"/>
                  </a:lnTo>
                  <a:lnTo>
                    <a:pt x="168" y="1287"/>
                  </a:lnTo>
                  <a:lnTo>
                    <a:pt x="193" y="1349"/>
                  </a:lnTo>
                  <a:lnTo>
                    <a:pt x="223" y="1410"/>
                  </a:lnTo>
                  <a:lnTo>
                    <a:pt x="259" y="1468"/>
                  </a:lnTo>
                  <a:lnTo>
                    <a:pt x="299" y="1523"/>
                  </a:lnTo>
                  <a:lnTo>
                    <a:pt x="343" y="1575"/>
                  </a:lnTo>
                  <a:lnTo>
                    <a:pt x="391" y="1624"/>
                  </a:lnTo>
                  <a:lnTo>
                    <a:pt x="444" y="1669"/>
                  </a:lnTo>
                  <a:lnTo>
                    <a:pt x="455" y="1680"/>
                  </a:lnTo>
                  <a:lnTo>
                    <a:pt x="462" y="1694"/>
                  </a:lnTo>
                  <a:lnTo>
                    <a:pt x="465" y="1708"/>
                  </a:lnTo>
                  <a:lnTo>
                    <a:pt x="465" y="1722"/>
                  </a:lnTo>
                  <a:lnTo>
                    <a:pt x="461" y="1737"/>
                  </a:lnTo>
                  <a:lnTo>
                    <a:pt x="453" y="1750"/>
                  </a:lnTo>
                  <a:lnTo>
                    <a:pt x="443" y="1760"/>
                  </a:lnTo>
                  <a:lnTo>
                    <a:pt x="433" y="1766"/>
                  </a:lnTo>
                  <a:lnTo>
                    <a:pt x="420" y="1770"/>
                  </a:lnTo>
                  <a:lnTo>
                    <a:pt x="408" y="1771"/>
                  </a:lnTo>
                  <a:lnTo>
                    <a:pt x="395" y="1770"/>
                  </a:lnTo>
                  <a:lnTo>
                    <a:pt x="384" y="1766"/>
                  </a:lnTo>
                  <a:lnTo>
                    <a:pt x="372" y="1760"/>
                  </a:lnTo>
                  <a:lnTo>
                    <a:pt x="318" y="1713"/>
                  </a:lnTo>
                  <a:lnTo>
                    <a:pt x="267" y="1664"/>
                  </a:lnTo>
                  <a:lnTo>
                    <a:pt x="221" y="1610"/>
                  </a:lnTo>
                  <a:lnTo>
                    <a:pt x="178" y="1555"/>
                  </a:lnTo>
                  <a:lnTo>
                    <a:pt x="141" y="1496"/>
                  </a:lnTo>
                  <a:lnTo>
                    <a:pt x="106" y="1435"/>
                  </a:lnTo>
                  <a:lnTo>
                    <a:pt x="77" y="1371"/>
                  </a:lnTo>
                  <a:lnTo>
                    <a:pt x="53" y="1306"/>
                  </a:lnTo>
                  <a:lnTo>
                    <a:pt x="32" y="1238"/>
                  </a:lnTo>
                  <a:lnTo>
                    <a:pt x="17" y="1169"/>
                  </a:lnTo>
                  <a:lnTo>
                    <a:pt x="5" y="1098"/>
                  </a:lnTo>
                  <a:lnTo>
                    <a:pt x="0" y="1027"/>
                  </a:lnTo>
                  <a:lnTo>
                    <a:pt x="0" y="957"/>
                  </a:lnTo>
                  <a:lnTo>
                    <a:pt x="4" y="886"/>
                  </a:lnTo>
                  <a:lnTo>
                    <a:pt x="14" y="816"/>
                  </a:lnTo>
                  <a:lnTo>
                    <a:pt x="28" y="748"/>
                  </a:lnTo>
                  <a:lnTo>
                    <a:pt x="47" y="681"/>
                  </a:lnTo>
                  <a:lnTo>
                    <a:pt x="71" y="615"/>
                  </a:lnTo>
                  <a:lnTo>
                    <a:pt x="101" y="551"/>
                  </a:lnTo>
                  <a:lnTo>
                    <a:pt x="134" y="490"/>
                  </a:lnTo>
                  <a:lnTo>
                    <a:pt x="172" y="430"/>
                  </a:lnTo>
                  <a:lnTo>
                    <a:pt x="215" y="372"/>
                  </a:lnTo>
                  <a:lnTo>
                    <a:pt x="262" y="317"/>
                  </a:lnTo>
                  <a:lnTo>
                    <a:pt x="313" y="265"/>
                  </a:lnTo>
                  <a:lnTo>
                    <a:pt x="368" y="218"/>
                  </a:lnTo>
                  <a:lnTo>
                    <a:pt x="424" y="175"/>
                  </a:lnTo>
                  <a:lnTo>
                    <a:pt x="484" y="138"/>
                  </a:lnTo>
                  <a:lnTo>
                    <a:pt x="545" y="104"/>
                  </a:lnTo>
                  <a:lnTo>
                    <a:pt x="609" y="76"/>
                  </a:lnTo>
                  <a:lnTo>
                    <a:pt x="674" y="52"/>
                  </a:lnTo>
                  <a:lnTo>
                    <a:pt x="740" y="32"/>
                  </a:lnTo>
                  <a:lnTo>
                    <a:pt x="807" y="17"/>
                  </a:lnTo>
                  <a:lnTo>
                    <a:pt x="875" y="7"/>
                  </a:lnTo>
                  <a:lnTo>
                    <a:pt x="944" y="2"/>
                  </a:lnTo>
                  <a:lnTo>
                    <a:pt x="101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8580" tIns="64292" rIns="128580" bIns="64292" numCol="1" anchor="t" anchorCtr="0" compatLnSpc="1">
              <a:prstTxWarp prst="textNoShape">
                <a:avLst/>
              </a:prstTxWarp>
            </a:bodyPr>
            <a:lstStyle/>
            <a:p>
              <a:pPr defTabSz="1248295"/>
              <a:endParaRPr lang="es-SV" sz="11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39" name="Freeform 30"/>
            <p:cNvSpPr>
              <a:spLocks/>
            </p:cNvSpPr>
            <p:nvPr/>
          </p:nvSpPr>
          <p:spPr bwMode="auto">
            <a:xfrm>
              <a:off x="5340" y="-610"/>
              <a:ext cx="34" cy="33"/>
            </a:xfrm>
            <a:custGeom>
              <a:avLst/>
              <a:gdLst>
                <a:gd name="T0" fmla="*/ 242 w 305"/>
                <a:gd name="T1" fmla="*/ 0 h 296"/>
                <a:gd name="T2" fmla="*/ 256 w 305"/>
                <a:gd name="T3" fmla="*/ 0 h 296"/>
                <a:gd name="T4" fmla="*/ 271 w 305"/>
                <a:gd name="T5" fmla="*/ 4 h 296"/>
                <a:gd name="T6" fmla="*/ 285 w 305"/>
                <a:gd name="T7" fmla="*/ 11 h 296"/>
                <a:gd name="T8" fmla="*/ 295 w 305"/>
                <a:gd name="T9" fmla="*/ 23 h 296"/>
                <a:gd name="T10" fmla="*/ 302 w 305"/>
                <a:gd name="T11" fmla="*/ 36 h 296"/>
                <a:gd name="T12" fmla="*/ 305 w 305"/>
                <a:gd name="T13" fmla="*/ 50 h 296"/>
                <a:gd name="T14" fmla="*/ 305 w 305"/>
                <a:gd name="T15" fmla="*/ 66 h 296"/>
                <a:gd name="T16" fmla="*/ 301 w 305"/>
                <a:gd name="T17" fmla="*/ 79 h 296"/>
                <a:gd name="T18" fmla="*/ 293 w 305"/>
                <a:gd name="T19" fmla="*/ 93 h 296"/>
                <a:gd name="T20" fmla="*/ 248 w 305"/>
                <a:gd name="T21" fmla="*/ 146 h 296"/>
                <a:gd name="T22" fmla="*/ 199 w 305"/>
                <a:gd name="T23" fmla="*/ 196 h 296"/>
                <a:gd name="T24" fmla="*/ 145 w 305"/>
                <a:gd name="T25" fmla="*/ 243 h 296"/>
                <a:gd name="T26" fmla="*/ 90 w 305"/>
                <a:gd name="T27" fmla="*/ 285 h 296"/>
                <a:gd name="T28" fmla="*/ 74 w 305"/>
                <a:gd name="T29" fmla="*/ 293 h 296"/>
                <a:gd name="T30" fmla="*/ 57 w 305"/>
                <a:gd name="T31" fmla="*/ 296 h 296"/>
                <a:gd name="T32" fmla="*/ 44 w 305"/>
                <a:gd name="T33" fmla="*/ 294 h 296"/>
                <a:gd name="T34" fmla="*/ 30 w 305"/>
                <a:gd name="T35" fmla="*/ 290 h 296"/>
                <a:gd name="T36" fmla="*/ 20 w 305"/>
                <a:gd name="T37" fmla="*/ 281 h 296"/>
                <a:gd name="T38" fmla="*/ 9 w 305"/>
                <a:gd name="T39" fmla="*/ 271 h 296"/>
                <a:gd name="T40" fmla="*/ 3 w 305"/>
                <a:gd name="T41" fmla="*/ 257 h 296"/>
                <a:gd name="T42" fmla="*/ 0 w 305"/>
                <a:gd name="T43" fmla="*/ 243 h 296"/>
                <a:gd name="T44" fmla="*/ 0 w 305"/>
                <a:gd name="T45" fmla="*/ 228 h 296"/>
                <a:gd name="T46" fmla="*/ 4 w 305"/>
                <a:gd name="T47" fmla="*/ 214 h 296"/>
                <a:gd name="T48" fmla="*/ 12 w 305"/>
                <a:gd name="T49" fmla="*/ 202 h 296"/>
                <a:gd name="T50" fmla="*/ 24 w 305"/>
                <a:gd name="T51" fmla="*/ 191 h 296"/>
                <a:gd name="T52" fmla="*/ 73 w 305"/>
                <a:gd name="T53" fmla="*/ 153 h 296"/>
                <a:gd name="T54" fmla="*/ 119 w 305"/>
                <a:gd name="T55" fmla="*/ 113 h 296"/>
                <a:gd name="T56" fmla="*/ 163 w 305"/>
                <a:gd name="T57" fmla="*/ 69 h 296"/>
                <a:gd name="T58" fmla="*/ 203 w 305"/>
                <a:gd name="T59" fmla="*/ 20 h 296"/>
                <a:gd name="T60" fmla="*/ 214 w 305"/>
                <a:gd name="T61" fmla="*/ 10 h 296"/>
                <a:gd name="T62" fmla="*/ 228 w 305"/>
                <a:gd name="T63" fmla="*/ 3 h 296"/>
                <a:gd name="T64" fmla="*/ 242 w 305"/>
                <a:gd name="T65" fmla="*/ 0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05" h="296">
                  <a:moveTo>
                    <a:pt x="242" y="0"/>
                  </a:moveTo>
                  <a:lnTo>
                    <a:pt x="256" y="0"/>
                  </a:lnTo>
                  <a:lnTo>
                    <a:pt x="271" y="4"/>
                  </a:lnTo>
                  <a:lnTo>
                    <a:pt x="285" y="11"/>
                  </a:lnTo>
                  <a:lnTo>
                    <a:pt x="295" y="23"/>
                  </a:lnTo>
                  <a:lnTo>
                    <a:pt x="302" y="36"/>
                  </a:lnTo>
                  <a:lnTo>
                    <a:pt x="305" y="50"/>
                  </a:lnTo>
                  <a:lnTo>
                    <a:pt x="305" y="66"/>
                  </a:lnTo>
                  <a:lnTo>
                    <a:pt x="301" y="79"/>
                  </a:lnTo>
                  <a:lnTo>
                    <a:pt x="293" y="93"/>
                  </a:lnTo>
                  <a:lnTo>
                    <a:pt x="248" y="146"/>
                  </a:lnTo>
                  <a:lnTo>
                    <a:pt x="199" y="196"/>
                  </a:lnTo>
                  <a:lnTo>
                    <a:pt x="145" y="243"/>
                  </a:lnTo>
                  <a:lnTo>
                    <a:pt x="90" y="285"/>
                  </a:lnTo>
                  <a:lnTo>
                    <a:pt x="74" y="293"/>
                  </a:lnTo>
                  <a:lnTo>
                    <a:pt x="57" y="296"/>
                  </a:lnTo>
                  <a:lnTo>
                    <a:pt x="44" y="294"/>
                  </a:lnTo>
                  <a:lnTo>
                    <a:pt x="30" y="290"/>
                  </a:lnTo>
                  <a:lnTo>
                    <a:pt x="20" y="281"/>
                  </a:lnTo>
                  <a:lnTo>
                    <a:pt x="9" y="271"/>
                  </a:lnTo>
                  <a:lnTo>
                    <a:pt x="3" y="257"/>
                  </a:lnTo>
                  <a:lnTo>
                    <a:pt x="0" y="243"/>
                  </a:lnTo>
                  <a:lnTo>
                    <a:pt x="0" y="228"/>
                  </a:lnTo>
                  <a:lnTo>
                    <a:pt x="4" y="214"/>
                  </a:lnTo>
                  <a:lnTo>
                    <a:pt x="12" y="202"/>
                  </a:lnTo>
                  <a:lnTo>
                    <a:pt x="24" y="191"/>
                  </a:lnTo>
                  <a:lnTo>
                    <a:pt x="73" y="153"/>
                  </a:lnTo>
                  <a:lnTo>
                    <a:pt x="119" y="113"/>
                  </a:lnTo>
                  <a:lnTo>
                    <a:pt x="163" y="69"/>
                  </a:lnTo>
                  <a:lnTo>
                    <a:pt x="203" y="20"/>
                  </a:lnTo>
                  <a:lnTo>
                    <a:pt x="214" y="10"/>
                  </a:lnTo>
                  <a:lnTo>
                    <a:pt x="228" y="3"/>
                  </a:lnTo>
                  <a:lnTo>
                    <a:pt x="24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8580" tIns="64292" rIns="128580" bIns="64292" numCol="1" anchor="t" anchorCtr="0" compatLnSpc="1">
              <a:prstTxWarp prst="textNoShape">
                <a:avLst/>
              </a:prstTxWarp>
            </a:bodyPr>
            <a:lstStyle/>
            <a:p>
              <a:pPr defTabSz="1248295"/>
              <a:endParaRPr lang="es-SV" sz="11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40" name="Freeform 31"/>
            <p:cNvSpPr>
              <a:spLocks/>
            </p:cNvSpPr>
            <p:nvPr/>
          </p:nvSpPr>
          <p:spPr bwMode="auto">
            <a:xfrm>
              <a:off x="5093" y="-581"/>
              <a:ext cx="135" cy="146"/>
            </a:xfrm>
            <a:custGeom>
              <a:avLst/>
              <a:gdLst>
                <a:gd name="T0" fmla="*/ 684 w 1216"/>
                <a:gd name="T1" fmla="*/ 0 h 1310"/>
                <a:gd name="T2" fmla="*/ 712 w 1216"/>
                <a:gd name="T3" fmla="*/ 11 h 1310"/>
                <a:gd name="T4" fmla="*/ 730 w 1216"/>
                <a:gd name="T5" fmla="*/ 35 h 1310"/>
                <a:gd name="T6" fmla="*/ 733 w 1216"/>
                <a:gd name="T7" fmla="*/ 65 h 1310"/>
                <a:gd name="T8" fmla="*/ 721 w 1216"/>
                <a:gd name="T9" fmla="*/ 92 h 1310"/>
                <a:gd name="T10" fmla="*/ 158 w 1216"/>
                <a:gd name="T11" fmla="*/ 804 h 1310"/>
                <a:gd name="T12" fmla="*/ 128 w 1216"/>
                <a:gd name="T13" fmla="*/ 869 h 1310"/>
                <a:gd name="T14" fmla="*/ 116 w 1216"/>
                <a:gd name="T15" fmla="*/ 937 h 1310"/>
                <a:gd name="T16" fmla="*/ 120 w 1216"/>
                <a:gd name="T17" fmla="*/ 1004 h 1310"/>
                <a:gd name="T18" fmla="*/ 141 w 1216"/>
                <a:gd name="T19" fmla="*/ 1067 h 1310"/>
                <a:gd name="T20" fmla="*/ 179 w 1216"/>
                <a:gd name="T21" fmla="*/ 1121 h 1310"/>
                <a:gd name="T22" fmla="*/ 231 w 1216"/>
                <a:gd name="T23" fmla="*/ 1163 h 1310"/>
                <a:gd name="T24" fmla="*/ 291 w 1216"/>
                <a:gd name="T25" fmla="*/ 1187 h 1310"/>
                <a:gd name="T26" fmla="*/ 357 w 1216"/>
                <a:gd name="T27" fmla="*/ 1195 h 1310"/>
                <a:gd name="T28" fmla="*/ 426 w 1216"/>
                <a:gd name="T29" fmla="*/ 1184 h 1310"/>
                <a:gd name="T30" fmla="*/ 490 w 1216"/>
                <a:gd name="T31" fmla="*/ 1157 h 1310"/>
                <a:gd name="T32" fmla="*/ 548 w 1216"/>
                <a:gd name="T33" fmla="*/ 1113 h 1310"/>
                <a:gd name="T34" fmla="*/ 1113 w 1216"/>
                <a:gd name="T35" fmla="*/ 405 h 1310"/>
                <a:gd name="T36" fmla="*/ 1137 w 1216"/>
                <a:gd name="T37" fmla="*/ 387 h 1310"/>
                <a:gd name="T38" fmla="*/ 1167 w 1216"/>
                <a:gd name="T39" fmla="*/ 384 h 1310"/>
                <a:gd name="T40" fmla="*/ 1194 w 1216"/>
                <a:gd name="T41" fmla="*/ 395 h 1310"/>
                <a:gd name="T42" fmla="*/ 1212 w 1216"/>
                <a:gd name="T43" fmla="*/ 420 h 1310"/>
                <a:gd name="T44" fmla="*/ 1216 w 1216"/>
                <a:gd name="T45" fmla="*/ 449 h 1310"/>
                <a:gd name="T46" fmla="*/ 1203 w 1216"/>
                <a:gd name="T47" fmla="*/ 476 h 1310"/>
                <a:gd name="T48" fmla="*/ 633 w 1216"/>
                <a:gd name="T49" fmla="*/ 1190 h 1310"/>
                <a:gd name="T50" fmla="*/ 567 w 1216"/>
                <a:gd name="T51" fmla="*/ 1245 h 1310"/>
                <a:gd name="T52" fmla="*/ 491 w 1216"/>
                <a:gd name="T53" fmla="*/ 1284 h 1310"/>
                <a:gd name="T54" fmla="*/ 408 w 1216"/>
                <a:gd name="T55" fmla="*/ 1306 h 1310"/>
                <a:gd name="T56" fmla="*/ 352 w 1216"/>
                <a:gd name="T57" fmla="*/ 1310 h 1310"/>
                <a:gd name="T58" fmla="*/ 273 w 1216"/>
                <a:gd name="T59" fmla="*/ 1301 h 1310"/>
                <a:gd name="T60" fmla="*/ 199 w 1216"/>
                <a:gd name="T61" fmla="*/ 1276 h 1310"/>
                <a:gd name="T62" fmla="*/ 133 w 1216"/>
                <a:gd name="T63" fmla="*/ 1234 h 1310"/>
                <a:gd name="T64" fmla="*/ 73 w 1216"/>
                <a:gd name="T65" fmla="*/ 1174 h 1310"/>
                <a:gd name="T66" fmla="*/ 31 w 1216"/>
                <a:gd name="T67" fmla="*/ 1102 h 1310"/>
                <a:gd name="T68" fmla="*/ 7 w 1216"/>
                <a:gd name="T69" fmla="*/ 1025 h 1310"/>
                <a:gd name="T70" fmla="*/ 0 w 1216"/>
                <a:gd name="T71" fmla="*/ 942 h 1310"/>
                <a:gd name="T72" fmla="*/ 11 w 1216"/>
                <a:gd name="T73" fmla="*/ 858 h 1310"/>
                <a:gd name="T74" fmla="*/ 41 w 1216"/>
                <a:gd name="T75" fmla="*/ 777 h 1310"/>
                <a:gd name="T76" fmla="*/ 89 w 1216"/>
                <a:gd name="T77" fmla="*/ 701 h 1310"/>
                <a:gd name="T78" fmla="*/ 642 w 1216"/>
                <a:gd name="T79" fmla="*/ 10 h 1310"/>
                <a:gd name="T80" fmla="*/ 669 w 1216"/>
                <a:gd name="T81" fmla="*/ 0 h 1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16" h="1310">
                  <a:moveTo>
                    <a:pt x="669" y="0"/>
                  </a:moveTo>
                  <a:lnTo>
                    <a:pt x="684" y="0"/>
                  </a:lnTo>
                  <a:lnTo>
                    <a:pt x="699" y="4"/>
                  </a:lnTo>
                  <a:lnTo>
                    <a:pt x="712" y="11"/>
                  </a:lnTo>
                  <a:lnTo>
                    <a:pt x="723" y="23"/>
                  </a:lnTo>
                  <a:lnTo>
                    <a:pt x="730" y="35"/>
                  </a:lnTo>
                  <a:lnTo>
                    <a:pt x="733" y="50"/>
                  </a:lnTo>
                  <a:lnTo>
                    <a:pt x="733" y="65"/>
                  </a:lnTo>
                  <a:lnTo>
                    <a:pt x="729" y="79"/>
                  </a:lnTo>
                  <a:lnTo>
                    <a:pt x="721" y="92"/>
                  </a:lnTo>
                  <a:lnTo>
                    <a:pt x="179" y="774"/>
                  </a:lnTo>
                  <a:lnTo>
                    <a:pt x="158" y="804"/>
                  </a:lnTo>
                  <a:lnTo>
                    <a:pt x="140" y="835"/>
                  </a:lnTo>
                  <a:lnTo>
                    <a:pt x="128" y="869"/>
                  </a:lnTo>
                  <a:lnTo>
                    <a:pt x="119" y="902"/>
                  </a:lnTo>
                  <a:lnTo>
                    <a:pt x="116" y="937"/>
                  </a:lnTo>
                  <a:lnTo>
                    <a:pt x="116" y="970"/>
                  </a:lnTo>
                  <a:lnTo>
                    <a:pt x="120" y="1004"/>
                  </a:lnTo>
                  <a:lnTo>
                    <a:pt x="129" y="1036"/>
                  </a:lnTo>
                  <a:lnTo>
                    <a:pt x="141" y="1067"/>
                  </a:lnTo>
                  <a:lnTo>
                    <a:pt x="158" y="1095"/>
                  </a:lnTo>
                  <a:lnTo>
                    <a:pt x="179" y="1121"/>
                  </a:lnTo>
                  <a:lnTo>
                    <a:pt x="204" y="1144"/>
                  </a:lnTo>
                  <a:lnTo>
                    <a:pt x="231" y="1163"/>
                  </a:lnTo>
                  <a:lnTo>
                    <a:pt x="261" y="1177"/>
                  </a:lnTo>
                  <a:lnTo>
                    <a:pt x="291" y="1187"/>
                  </a:lnTo>
                  <a:lnTo>
                    <a:pt x="324" y="1193"/>
                  </a:lnTo>
                  <a:lnTo>
                    <a:pt x="357" y="1195"/>
                  </a:lnTo>
                  <a:lnTo>
                    <a:pt x="392" y="1192"/>
                  </a:lnTo>
                  <a:lnTo>
                    <a:pt x="426" y="1184"/>
                  </a:lnTo>
                  <a:lnTo>
                    <a:pt x="459" y="1173"/>
                  </a:lnTo>
                  <a:lnTo>
                    <a:pt x="490" y="1157"/>
                  </a:lnTo>
                  <a:lnTo>
                    <a:pt x="521" y="1136"/>
                  </a:lnTo>
                  <a:lnTo>
                    <a:pt x="548" y="1113"/>
                  </a:lnTo>
                  <a:lnTo>
                    <a:pt x="572" y="1086"/>
                  </a:lnTo>
                  <a:lnTo>
                    <a:pt x="1113" y="405"/>
                  </a:lnTo>
                  <a:lnTo>
                    <a:pt x="1125" y="394"/>
                  </a:lnTo>
                  <a:lnTo>
                    <a:pt x="1137" y="387"/>
                  </a:lnTo>
                  <a:lnTo>
                    <a:pt x="1152" y="383"/>
                  </a:lnTo>
                  <a:lnTo>
                    <a:pt x="1167" y="384"/>
                  </a:lnTo>
                  <a:lnTo>
                    <a:pt x="1181" y="387"/>
                  </a:lnTo>
                  <a:lnTo>
                    <a:pt x="1194" y="395"/>
                  </a:lnTo>
                  <a:lnTo>
                    <a:pt x="1206" y="407"/>
                  </a:lnTo>
                  <a:lnTo>
                    <a:pt x="1212" y="420"/>
                  </a:lnTo>
                  <a:lnTo>
                    <a:pt x="1216" y="434"/>
                  </a:lnTo>
                  <a:lnTo>
                    <a:pt x="1216" y="449"/>
                  </a:lnTo>
                  <a:lnTo>
                    <a:pt x="1212" y="464"/>
                  </a:lnTo>
                  <a:lnTo>
                    <a:pt x="1203" y="476"/>
                  </a:lnTo>
                  <a:lnTo>
                    <a:pt x="662" y="1157"/>
                  </a:lnTo>
                  <a:lnTo>
                    <a:pt x="633" y="1190"/>
                  </a:lnTo>
                  <a:lnTo>
                    <a:pt x="601" y="1220"/>
                  </a:lnTo>
                  <a:lnTo>
                    <a:pt x="567" y="1245"/>
                  </a:lnTo>
                  <a:lnTo>
                    <a:pt x="530" y="1267"/>
                  </a:lnTo>
                  <a:lnTo>
                    <a:pt x="491" y="1284"/>
                  </a:lnTo>
                  <a:lnTo>
                    <a:pt x="450" y="1297"/>
                  </a:lnTo>
                  <a:lnTo>
                    <a:pt x="408" y="1306"/>
                  </a:lnTo>
                  <a:lnTo>
                    <a:pt x="380" y="1309"/>
                  </a:lnTo>
                  <a:lnTo>
                    <a:pt x="352" y="1310"/>
                  </a:lnTo>
                  <a:lnTo>
                    <a:pt x="312" y="1308"/>
                  </a:lnTo>
                  <a:lnTo>
                    <a:pt x="273" y="1301"/>
                  </a:lnTo>
                  <a:lnTo>
                    <a:pt x="236" y="1291"/>
                  </a:lnTo>
                  <a:lnTo>
                    <a:pt x="199" y="1276"/>
                  </a:lnTo>
                  <a:lnTo>
                    <a:pt x="165" y="1257"/>
                  </a:lnTo>
                  <a:lnTo>
                    <a:pt x="133" y="1234"/>
                  </a:lnTo>
                  <a:lnTo>
                    <a:pt x="101" y="1205"/>
                  </a:lnTo>
                  <a:lnTo>
                    <a:pt x="73" y="1174"/>
                  </a:lnTo>
                  <a:lnTo>
                    <a:pt x="50" y="1139"/>
                  </a:lnTo>
                  <a:lnTo>
                    <a:pt x="31" y="1102"/>
                  </a:lnTo>
                  <a:lnTo>
                    <a:pt x="17" y="1065"/>
                  </a:lnTo>
                  <a:lnTo>
                    <a:pt x="7" y="1025"/>
                  </a:lnTo>
                  <a:lnTo>
                    <a:pt x="1" y="984"/>
                  </a:lnTo>
                  <a:lnTo>
                    <a:pt x="0" y="942"/>
                  </a:lnTo>
                  <a:lnTo>
                    <a:pt x="4" y="900"/>
                  </a:lnTo>
                  <a:lnTo>
                    <a:pt x="11" y="858"/>
                  </a:lnTo>
                  <a:lnTo>
                    <a:pt x="24" y="818"/>
                  </a:lnTo>
                  <a:lnTo>
                    <a:pt x="41" y="777"/>
                  </a:lnTo>
                  <a:lnTo>
                    <a:pt x="63" y="738"/>
                  </a:lnTo>
                  <a:lnTo>
                    <a:pt x="89" y="701"/>
                  </a:lnTo>
                  <a:lnTo>
                    <a:pt x="631" y="21"/>
                  </a:lnTo>
                  <a:lnTo>
                    <a:pt x="642" y="10"/>
                  </a:lnTo>
                  <a:lnTo>
                    <a:pt x="655" y="3"/>
                  </a:lnTo>
                  <a:lnTo>
                    <a:pt x="6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8580" tIns="64292" rIns="128580" bIns="64292" numCol="1" anchor="t" anchorCtr="0" compatLnSpc="1">
              <a:prstTxWarp prst="textNoShape">
                <a:avLst/>
              </a:prstTxWarp>
            </a:bodyPr>
            <a:lstStyle/>
            <a:p>
              <a:pPr defTabSz="1248295"/>
              <a:endParaRPr lang="es-SV" sz="11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</p:grpSp>
      <p:sp>
        <p:nvSpPr>
          <p:cNvPr id="41" name="TextBox 23"/>
          <p:cNvSpPr txBox="1"/>
          <p:nvPr/>
        </p:nvSpPr>
        <p:spPr>
          <a:xfrm>
            <a:off x="906466" y="1201316"/>
            <a:ext cx="164931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+mn-lt"/>
              </a:rPr>
              <a:t>问题：平台内部核心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+mn-lt"/>
              </a:rPr>
              <a:t>组件缺少监控预警报警功能</a:t>
            </a:r>
            <a:endParaRPr lang="en-US" altLang="zh-CN" sz="100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cs typeface="+mn-ea"/>
              <a:sym typeface="+mn-lt"/>
            </a:endParaRPr>
          </a:p>
          <a:p>
            <a:pPr>
              <a:lnSpc>
                <a:spcPct val="150000"/>
              </a:lnSpc>
            </a:pPr>
            <a:endParaRPr lang="en-US" altLang="zh-CN" sz="100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cs typeface="+mn-ea"/>
              <a:sym typeface="+mn-lt"/>
            </a:endParaRPr>
          </a:p>
          <a:p>
            <a:pPr>
              <a:lnSpc>
                <a:spcPct val="150000"/>
              </a:lnSpc>
            </a:pP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+mn-lt"/>
              </a:rPr>
              <a:t>解决方案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+mn-lt"/>
              </a:rPr>
              <a:t>：接入</a:t>
            </a:r>
            <a:r>
              <a:rPr lang="en-US" altLang="zh-CN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+mn-lt"/>
              </a:rPr>
              <a:t>UAV</a:t>
            </a:r>
            <a:endParaRPr lang="en-GB" altLang="zh-CN" sz="10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2" name="TextBox 24"/>
          <p:cNvSpPr txBox="1"/>
          <p:nvPr/>
        </p:nvSpPr>
        <p:spPr>
          <a:xfrm>
            <a:off x="779605" y="720413"/>
            <a:ext cx="22409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微软雅黑" panose="020B0503020204020204" pitchFamily="34" charset="-122"/>
              </a:rPr>
              <a:t>1</a:t>
            </a:r>
            <a:r>
              <a:rPr lang="zh-CN" alt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微软雅黑" panose="020B0503020204020204" pitchFamily="34" charset="-122"/>
              </a:rPr>
              <a:t>、平台稳定性</a:t>
            </a:r>
            <a:endParaRPr lang="zh-CN" altLang="en-US" sz="2400" dirty="0">
              <a:solidFill>
                <a:schemeClr val="tx1">
                  <a:lumMod val="75000"/>
                  <a:lumOff val="25000"/>
                </a:schemeClr>
              </a:solidFill>
              <a:ea typeface="微软雅黑" panose="020B0503020204020204" pitchFamily="34" charset="-122"/>
            </a:endParaRPr>
          </a:p>
        </p:txBody>
      </p:sp>
      <p:sp>
        <p:nvSpPr>
          <p:cNvPr id="43" name="TextBox 23"/>
          <p:cNvSpPr txBox="1"/>
          <p:nvPr/>
        </p:nvSpPr>
        <p:spPr>
          <a:xfrm>
            <a:off x="906466" y="3682535"/>
            <a:ext cx="164931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+mn-lt"/>
              </a:rPr>
              <a:t>问题：云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+mn-lt"/>
              </a:rPr>
              <a:t>平台交互性较差</a:t>
            </a:r>
            <a:endParaRPr lang="en-US" altLang="zh-CN" sz="100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cs typeface="+mn-ea"/>
              <a:sym typeface="+mn-lt"/>
            </a:endParaRPr>
          </a:p>
          <a:p>
            <a:pPr>
              <a:lnSpc>
                <a:spcPct val="150000"/>
              </a:lnSpc>
            </a:pPr>
            <a:endParaRPr lang="en-US" altLang="zh-CN" sz="100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cs typeface="+mn-ea"/>
              <a:sym typeface="+mn-lt"/>
            </a:endParaRPr>
          </a:p>
          <a:p>
            <a:pPr>
              <a:lnSpc>
                <a:spcPct val="150000"/>
              </a:lnSpc>
            </a:pP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+mn-lt"/>
              </a:rPr>
              <a:t>解决方案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+mn-lt"/>
              </a:rPr>
              <a:t>：云平台</a:t>
            </a:r>
            <a:r>
              <a:rPr lang="en-US" altLang="zh-CN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+mn-lt"/>
              </a:rPr>
              <a:t>2.0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+mn-lt"/>
              </a:rPr>
              <a:t>功能交互优化</a:t>
            </a:r>
            <a:endParaRPr lang="zh-CN" altLang="en-US" sz="10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4" name="TextBox 24"/>
          <p:cNvSpPr txBox="1"/>
          <p:nvPr/>
        </p:nvSpPr>
        <p:spPr>
          <a:xfrm>
            <a:off x="779606" y="3145532"/>
            <a:ext cx="18745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微软雅黑" panose="020B0503020204020204" pitchFamily="34" charset="-122"/>
              </a:rPr>
              <a:t>2</a:t>
            </a:r>
            <a:r>
              <a:rPr lang="zh-CN" alt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微软雅黑" panose="020B0503020204020204" pitchFamily="34" charset="-122"/>
              </a:rPr>
              <a:t>、平台功能</a:t>
            </a:r>
            <a:endParaRPr lang="zh-CN" altLang="en-US" sz="2400" dirty="0">
              <a:solidFill>
                <a:schemeClr val="tx1">
                  <a:lumMod val="75000"/>
                  <a:lumOff val="25000"/>
                </a:schemeClr>
              </a:solidFill>
              <a:ea typeface="微软雅黑" panose="020B0503020204020204" pitchFamily="34" charset="-122"/>
            </a:endParaRPr>
          </a:p>
        </p:txBody>
      </p:sp>
      <p:sp>
        <p:nvSpPr>
          <p:cNvPr id="45" name="TextBox 23"/>
          <p:cNvSpPr txBox="1"/>
          <p:nvPr/>
        </p:nvSpPr>
        <p:spPr>
          <a:xfrm>
            <a:off x="6571068" y="1201861"/>
            <a:ext cx="1649310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+mn-lt"/>
              </a:rPr>
              <a:t>问题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+mn-lt"/>
              </a:rPr>
              <a:t>：</a:t>
            </a:r>
            <a:r>
              <a:rPr lang="en-US" altLang="zh-CN" sz="1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微软雅黑" pitchFamily="34" charset="-122"/>
                <a:ea typeface="微软雅黑" pitchFamily="34" charset="-122"/>
              </a:rPr>
              <a:t>OA</a:t>
            </a:r>
            <a:r>
              <a:rPr lang="zh-CN" altLang="en-US" sz="1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微软雅黑" pitchFamily="34" charset="-122"/>
                <a:ea typeface="微软雅黑" pitchFamily="34" charset="-122"/>
              </a:rPr>
              <a:t>线上环境机器老旧容易出硬件故障</a:t>
            </a:r>
            <a:endParaRPr lang="en-US" altLang="zh-CN" sz="1000" dirty="0" smtClean="0">
              <a:solidFill>
                <a:prstClr val="black">
                  <a:lumMod val="75000"/>
                  <a:lumOff val="25000"/>
                </a:prstClr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100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cs typeface="+mn-ea"/>
              <a:sym typeface="+mn-lt"/>
            </a:endParaRPr>
          </a:p>
          <a:p>
            <a:pPr>
              <a:lnSpc>
                <a:spcPct val="150000"/>
              </a:lnSpc>
            </a:pP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+mn-lt"/>
              </a:rPr>
              <a:t>解决方案：</a:t>
            </a:r>
            <a:r>
              <a:rPr lang="en-US" altLang="zh-CN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+mn-lt"/>
              </a:rPr>
              <a:t>IDC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+mn-lt"/>
              </a:rPr>
              <a:t>淘汰机器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+mn-lt"/>
              </a:rPr>
              <a:t>顶上，或者购买新机器</a:t>
            </a:r>
            <a:endParaRPr lang="zh-CN" altLang="en-US" sz="10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6" name="TextBox 24"/>
          <p:cNvSpPr txBox="1"/>
          <p:nvPr/>
        </p:nvSpPr>
        <p:spPr>
          <a:xfrm>
            <a:off x="6444208" y="720413"/>
            <a:ext cx="23762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微软雅黑" panose="020B0503020204020204" pitchFamily="34" charset="-122"/>
              </a:rPr>
              <a:t>3</a:t>
            </a:r>
            <a:r>
              <a:rPr lang="zh-CN" alt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微软雅黑" panose="020B0503020204020204" pitchFamily="34" charset="-122"/>
              </a:rPr>
              <a:t>、服务器资源</a:t>
            </a:r>
            <a:endParaRPr lang="zh-CN" altLang="en-US" sz="2400" dirty="0">
              <a:solidFill>
                <a:schemeClr val="tx1">
                  <a:lumMod val="75000"/>
                  <a:lumOff val="25000"/>
                </a:schemeClr>
              </a:solidFill>
              <a:ea typeface="微软雅黑" panose="020B0503020204020204" pitchFamily="34" charset="-122"/>
            </a:endParaRPr>
          </a:p>
        </p:txBody>
      </p:sp>
      <p:sp>
        <p:nvSpPr>
          <p:cNvPr id="47" name="TextBox 23"/>
          <p:cNvSpPr txBox="1"/>
          <p:nvPr/>
        </p:nvSpPr>
        <p:spPr>
          <a:xfrm>
            <a:off x="6643076" y="3756436"/>
            <a:ext cx="164931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+mn-lt"/>
              </a:rPr>
              <a:t>问题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+mn-lt"/>
              </a:rPr>
              <a:t>：业务线接入</a:t>
            </a:r>
            <a:r>
              <a:rPr lang="en-US" altLang="zh-CN" sz="1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+mn-lt"/>
              </a:rPr>
              <a:t>docker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+mn-lt"/>
              </a:rPr>
              <a:t>需要研发人员配合改造。</a:t>
            </a:r>
            <a:endParaRPr lang="en-US" altLang="zh-CN" sz="100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cs typeface="+mn-ea"/>
              <a:sym typeface="+mn-lt"/>
            </a:endParaRPr>
          </a:p>
          <a:p>
            <a:pPr>
              <a:lnSpc>
                <a:spcPct val="150000"/>
              </a:lnSpc>
            </a:pPr>
            <a:endParaRPr lang="en-US" altLang="zh-CN" sz="100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cs typeface="+mn-ea"/>
              <a:sym typeface="+mn-lt"/>
            </a:endParaRPr>
          </a:p>
          <a:p>
            <a:pPr>
              <a:lnSpc>
                <a:spcPct val="150000"/>
              </a:lnSpc>
            </a:pP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+mn-lt"/>
              </a:rPr>
              <a:t>解决方案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+mn-lt"/>
              </a:rPr>
              <a:t>：需要领导支持</a:t>
            </a:r>
            <a:endParaRPr lang="en-GB" altLang="zh-CN" sz="10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8" name="TextBox 24"/>
          <p:cNvSpPr txBox="1"/>
          <p:nvPr/>
        </p:nvSpPr>
        <p:spPr>
          <a:xfrm>
            <a:off x="6516216" y="3145532"/>
            <a:ext cx="18722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微软雅黑" panose="020B0503020204020204" pitchFamily="34" charset="-122"/>
              </a:rPr>
              <a:t>4</a:t>
            </a:r>
            <a:r>
              <a:rPr lang="zh-CN" alt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微软雅黑" panose="020B0503020204020204" pitchFamily="34" charset="-122"/>
              </a:rPr>
              <a:t>、平台推广</a:t>
            </a:r>
            <a:endParaRPr lang="zh-CN" altLang="en-US" sz="2400" dirty="0">
              <a:solidFill>
                <a:schemeClr val="tx1">
                  <a:lumMod val="75000"/>
                  <a:lumOff val="25000"/>
                </a:schemeClr>
              </a:solidFill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4236936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2" presetClass="emph" presetSubtype="0" repeatCount="2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9" dur="5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0" dur="100" fill="hold">
                                          <p:stCondLst>
                                            <p:cond delay="10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11" dur="1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2" dur="100" fill="hold">
                                          <p:stCondLst>
                                            <p:cond delay="30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3" dur="1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4" presetID="25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5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500"/>
                            </p:stCondLst>
                            <p:childTnLst>
                              <p:par>
                                <p:cTn id="38" presetID="23" presetClass="entr" presetSubtype="3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(6*min(max(#ppt_w*#ppt_h,.3),1)-7.4)/-.7*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23" presetClass="entr" presetSubtype="3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(6*min(max(#ppt_w*#ppt_h,.3),1)-7.4)/-.7*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23" presetClass="entr" presetSubtype="3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(6*min(max(#ppt_w*#ppt_h,.3),1)-7.4)/-.7*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6" presetID="23" presetClass="entr" presetSubtype="3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(6*min(max(#ppt_w*#ppt_h,.3),1)-7.4)/-.7*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2000"/>
                            </p:stCondLst>
                            <p:childTnLst>
                              <p:par>
                                <p:cTn id="63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6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70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2500"/>
                            </p:stCondLst>
                            <p:childTnLst>
                              <p:par>
                                <p:cTn id="72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4" dur="500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75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8" dur="500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79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3000"/>
                            </p:stCondLst>
                            <p:childTnLst>
                              <p:par>
                                <p:cTn id="81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500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4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500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88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3500"/>
                            </p:stCondLst>
                            <p:childTnLst>
                              <p:par>
                                <p:cTn id="90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2" dur="500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93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6" dur="500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9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41" grpId="0"/>
      <p:bldP spid="42" grpId="0"/>
      <p:bldP spid="43" grpId="0"/>
      <p:bldP spid="44" grpId="0"/>
      <p:bldP spid="45" grpId="0"/>
      <p:bldP spid="46" grpId="0"/>
      <p:bldP spid="47" grpId="0"/>
      <p:bldP spid="48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3C2100-B283-423C-80F9-9CBC96B9E551}" type="slidenum">
              <a:rPr lang="zh-CN" altLang="en-US" smtClean="0"/>
              <a:pPr/>
              <a:t>8</a:t>
            </a:fld>
            <a:endParaRPr lang="zh-CN" altLang="en-US" dirty="0"/>
          </a:p>
        </p:txBody>
      </p:sp>
      <p:cxnSp>
        <p:nvCxnSpPr>
          <p:cNvPr id="7" name="直接连接符 6"/>
          <p:cNvCxnSpPr/>
          <p:nvPr>
            <p:custDataLst>
              <p:tags r:id="rId1"/>
            </p:custDataLst>
          </p:nvPr>
        </p:nvCxnSpPr>
        <p:spPr>
          <a:xfrm>
            <a:off x="0" y="4153644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接连接符 14"/>
          <p:cNvCxnSpPr/>
          <p:nvPr>
            <p:custDataLst>
              <p:tags r:id="rId2"/>
            </p:custDataLst>
          </p:nvPr>
        </p:nvCxnSpPr>
        <p:spPr>
          <a:xfrm>
            <a:off x="0" y="2713484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文本框 9"/>
          <p:cNvSpPr txBox="1"/>
          <p:nvPr>
            <p:custDataLst>
              <p:tags r:id="rId3"/>
            </p:custDataLst>
          </p:nvPr>
        </p:nvSpPr>
        <p:spPr>
          <a:xfrm>
            <a:off x="2904583" y="2610365"/>
            <a:ext cx="3427667" cy="490587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altLang="zh-CN" sz="2800" dirty="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PART</a:t>
            </a:r>
          </a:p>
        </p:txBody>
      </p:sp>
      <p:sp>
        <p:nvSpPr>
          <p:cNvPr id="11" name="MH_Entry_1"/>
          <p:cNvSpPr/>
          <p:nvPr>
            <p:custDataLst>
              <p:tags r:id="rId4"/>
            </p:custDataLst>
          </p:nvPr>
        </p:nvSpPr>
        <p:spPr>
          <a:xfrm>
            <a:off x="2555776" y="3353425"/>
            <a:ext cx="4125284" cy="800219"/>
          </a:xfrm>
          <a:custGeom>
            <a:avLst/>
            <a:gdLst>
              <a:gd name="connsiteX0" fmla="*/ 0 w 2520280"/>
              <a:gd name="connsiteY0" fmla="*/ 1584176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1584176 h 1872208"/>
              <a:gd name="connsiteX5" fmla="*/ 0 w 2520280"/>
              <a:gd name="connsiteY5" fmla="*/ 0 h 1872208"/>
              <a:gd name="connsiteX6" fmla="*/ 2520280 w 2520280"/>
              <a:gd name="connsiteY6" fmla="*/ 0 h 1872208"/>
              <a:gd name="connsiteX7" fmla="*/ 2520280 w 2520280"/>
              <a:gd name="connsiteY7" fmla="*/ 288032 h 1872208"/>
              <a:gd name="connsiteX8" fmla="*/ 0 w 2520280"/>
              <a:gd name="connsiteY8" fmla="*/ 0 h 1872208"/>
              <a:gd name="connsiteX0" fmla="*/ 0 w 2520280"/>
              <a:gd name="connsiteY0" fmla="*/ 1584176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1584176 h 1872208"/>
              <a:gd name="connsiteX5" fmla="*/ 0 w 2520280"/>
              <a:gd name="connsiteY5" fmla="*/ 0 h 1872208"/>
              <a:gd name="connsiteX6" fmla="*/ 2520280 w 2520280"/>
              <a:gd name="connsiteY6" fmla="*/ 0 h 1872208"/>
              <a:gd name="connsiteX7" fmla="*/ 0 w 2520280"/>
              <a:gd name="connsiteY7" fmla="*/ 0 h 1872208"/>
              <a:gd name="connsiteX0" fmla="*/ 0 w 2520280"/>
              <a:gd name="connsiteY0" fmla="*/ 1872208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0 h 1872208"/>
              <a:gd name="connsiteX5" fmla="*/ 2520280 w 2520280"/>
              <a:gd name="connsiteY5" fmla="*/ 0 h 1872208"/>
              <a:gd name="connsiteX6" fmla="*/ 0 w 2520280"/>
              <a:gd name="connsiteY6" fmla="*/ 0 h 1872208"/>
              <a:gd name="connsiteX0" fmla="*/ 0 w 2520280"/>
              <a:gd name="connsiteY0" fmla="*/ 1872208 h 1872208"/>
              <a:gd name="connsiteX1" fmla="*/ 2520280 w 2520280"/>
              <a:gd name="connsiteY1" fmla="*/ 1872208 h 1872208"/>
              <a:gd name="connsiteX2" fmla="*/ 0 w 2520280"/>
              <a:gd name="connsiteY2" fmla="*/ 1872208 h 1872208"/>
              <a:gd name="connsiteX3" fmla="*/ 0 w 2520280"/>
              <a:gd name="connsiteY3" fmla="*/ 0 h 1872208"/>
              <a:gd name="connsiteX4" fmla="*/ 2520280 w 2520280"/>
              <a:gd name="connsiteY4" fmla="*/ 0 h 1872208"/>
              <a:gd name="connsiteX5" fmla="*/ 0 w 2520280"/>
              <a:gd name="connsiteY5" fmla="*/ 0 h 1872208"/>
              <a:gd name="connsiteX0" fmla="*/ 0 w 2520280"/>
              <a:gd name="connsiteY0" fmla="*/ 1872208 h 1872208"/>
              <a:gd name="connsiteX1" fmla="*/ 2520280 w 2520280"/>
              <a:gd name="connsiteY1" fmla="*/ 1872208 h 1872208"/>
              <a:gd name="connsiteX2" fmla="*/ 0 w 2520280"/>
              <a:gd name="connsiteY2" fmla="*/ 1872208 h 1872208"/>
              <a:gd name="connsiteX3" fmla="*/ 0 w 2520280"/>
              <a:gd name="connsiteY3" fmla="*/ 0 h 1872208"/>
              <a:gd name="connsiteX4" fmla="*/ 34255 w 2520280"/>
              <a:gd name="connsiteY4" fmla="*/ 0 h 1872208"/>
              <a:gd name="connsiteX5" fmla="*/ 0 w 2520280"/>
              <a:gd name="connsiteY5" fmla="*/ 0 h 1872208"/>
              <a:gd name="connsiteX0" fmla="*/ 0 w 2520280"/>
              <a:gd name="connsiteY0" fmla="*/ 1872208 h 1872208"/>
              <a:gd name="connsiteX1" fmla="*/ 2520280 w 2520280"/>
              <a:gd name="connsiteY1" fmla="*/ 1872208 h 1872208"/>
              <a:gd name="connsiteX2" fmla="*/ 0 w 2520280"/>
              <a:gd name="connsiteY2" fmla="*/ 1872208 h 1872208"/>
              <a:gd name="connsiteX3" fmla="*/ 0 w 2520280"/>
              <a:gd name="connsiteY3" fmla="*/ 0 h 1872208"/>
              <a:gd name="connsiteX4" fmla="*/ 917 w 2520280"/>
              <a:gd name="connsiteY4" fmla="*/ 6036 h 1872208"/>
              <a:gd name="connsiteX5" fmla="*/ 0 w 2520280"/>
              <a:gd name="connsiteY5" fmla="*/ 0 h 1872208"/>
              <a:gd name="connsiteX0" fmla="*/ 0 w 2520280"/>
              <a:gd name="connsiteY0" fmla="*/ 1890314 h 1890314"/>
              <a:gd name="connsiteX1" fmla="*/ 2520280 w 2520280"/>
              <a:gd name="connsiteY1" fmla="*/ 1890314 h 1890314"/>
              <a:gd name="connsiteX2" fmla="*/ 0 w 2520280"/>
              <a:gd name="connsiteY2" fmla="*/ 1890314 h 1890314"/>
              <a:gd name="connsiteX3" fmla="*/ 0 w 2520280"/>
              <a:gd name="connsiteY3" fmla="*/ 18106 h 1890314"/>
              <a:gd name="connsiteX4" fmla="*/ 53304 w 2520280"/>
              <a:gd name="connsiteY4" fmla="*/ 0 h 1890314"/>
              <a:gd name="connsiteX5" fmla="*/ 0 w 2520280"/>
              <a:gd name="connsiteY5" fmla="*/ 18106 h 1890314"/>
              <a:gd name="connsiteX0" fmla="*/ 0 w 2520280"/>
              <a:gd name="connsiteY0" fmla="*/ 1872208 h 1872208"/>
              <a:gd name="connsiteX1" fmla="*/ 2520280 w 2520280"/>
              <a:gd name="connsiteY1" fmla="*/ 1872208 h 1872208"/>
              <a:gd name="connsiteX2" fmla="*/ 0 w 2520280"/>
              <a:gd name="connsiteY2" fmla="*/ 1872208 h 1872208"/>
              <a:gd name="connsiteX3" fmla="*/ 0 w 2520280"/>
              <a:gd name="connsiteY3" fmla="*/ 0 h 1872208"/>
              <a:gd name="connsiteX4" fmla="*/ 916 w 2520280"/>
              <a:gd name="connsiteY4" fmla="*/ 0 h 1872208"/>
              <a:gd name="connsiteX5" fmla="*/ 0 w 2520280"/>
              <a:gd name="connsiteY5" fmla="*/ 0 h 1872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20280" h="1872208">
                <a:moveTo>
                  <a:pt x="0" y="1872208"/>
                </a:moveTo>
                <a:lnTo>
                  <a:pt x="2520280" y="1872208"/>
                </a:lnTo>
                <a:lnTo>
                  <a:pt x="0" y="1872208"/>
                </a:lnTo>
                <a:close/>
                <a:moveTo>
                  <a:pt x="0" y="0"/>
                </a:moveTo>
                <a:lnTo>
                  <a:pt x="916" y="0"/>
                </a:lnTo>
                <a:lnTo>
                  <a:pt x="0" y="0"/>
                </a:lnTo>
                <a:close/>
              </a:path>
            </a:pathLst>
          </a:custGeom>
          <a:noFill/>
          <a:ln w="3175" cap="sq">
            <a:noFill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zh-CN" altLang="en-US" sz="3600" dirty="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下月工</a:t>
            </a:r>
            <a:r>
              <a:rPr lang="zh-CN" altLang="en-US" sz="36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作计划</a:t>
            </a:r>
            <a:endParaRPr lang="en-US" altLang="zh-CN" sz="36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algn="ctr"/>
            <a:r>
              <a:rPr lang="en-US" altLang="zh-CN" sz="1600" dirty="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MONTH </a:t>
            </a:r>
            <a:r>
              <a:rPr lang="en-US" altLang="zh-CN" sz="16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WORK PLAN</a:t>
            </a:r>
            <a:endParaRPr lang="zh-CN" altLang="en-US" sz="16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83829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2203525"/>
  <p:tag name="MH_LIBRARY" val="GRAPHIC"/>
  <p:tag name="MH_TYPE" val="Other"/>
  <p:tag name="MH_ORDER" val="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2203525"/>
  <p:tag name="MH_LIBRARY" val="GRAPHIC"/>
  <p:tag name="MH_TYPE" val="SubTitle"/>
  <p:tag name="MH_ORDER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2203525"/>
  <p:tag name="MH_LIBRARY" val="GRAPHIC"/>
  <p:tag name="MH_TYPE" val="Other"/>
  <p:tag name="MH_ORDER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2204519"/>
  <p:tag name="MH_LIBRARY" val="GRAPHIC"/>
  <p:tag name="MH_ORDER" val="Straight Connector 6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2204519"/>
  <p:tag name="MH_LIBRARY" val="GRAPHIC"/>
  <p:tag name="MH_ORDER" val="TextBox 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830110146"/>
  <p:tag name="MH_LIBRARY" val="CONTENTS"/>
  <p:tag name="MH_TYPE" val="ENTRY"/>
  <p:tag name="ID" val="553512"/>
  <p:tag name="MH_ORDER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2204519"/>
  <p:tag name="MH_LIBRARY" val="GRAPHIC"/>
  <p:tag name="MH_ORDER" val="Straight Connector 6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2204519"/>
  <p:tag name="MH_LIBRARY" val="GRAPHIC"/>
  <p:tag name="MH_ORDER" val="Straight Connector 6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2204519"/>
  <p:tag name="MH_LIBRARY" val="GRAPHIC"/>
  <p:tag name="MH_ORDER" val="Straight Connector 6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2204519"/>
  <p:tag name="MH_LIBRARY" val="GRAPHIC"/>
  <p:tag name="MH_ORDER" val="TextBox 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830110146"/>
  <p:tag name="MH_LIBRARY" val="CONTENTS"/>
  <p:tag name="MH_TYPE" val="ENTRY"/>
  <p:tag name="ID" val="553512"/>
  <p:tag name="MH_ORDER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2204519"/>
  <p:tag name="MH_LIBRARY" val="GRAPHIC"/>
  <p:tag name="MH_ORDER" val="Straight Connector 6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2204519"/>
  <p:tag name="MH_LIBRARY" val="GRAPHIC"/>
  <p:tag name="MH_ORDER" val="Straight Connector 6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2204519"/>
  <p:tag name="MH_LIBRARY" val="GRAPHIC"/>
  <p:tag name="MH_ORDER" val="TextBox 3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830110146"/>
  <p:tag name="MH_LIBRARY" val="CONTENTS"/>
  <p:tag name="MH_TYPE" val="ENTRY"/>
  <p:tag name="ID" val="553512"/>
  <p:tag name="MH_ORDER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2204519"/>
  <p:tag name="MH_LIBRARY" val="GRAPHIC"/>
  <p:tag name="MH_ORDER" val="Straight Connector 6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2204519"/>
  <p:tag name="MH_LIBRARY" val="GRAPHIC"/>
  <p:tag name="MH_ORDER" val="Straight Connector 6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2204519"/>
  <p:tag name="MH_LIBRARY" val="GRAPHIC"/>
  <p:tag name="MH_ORDER" val="TextBox 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830110146"/>
  <p:tag name="MH_LIBRARY" val="CONTENTS"/>
  <p:tag name="MH_TYPE" val="ENTRY"/>
  <p:tag name="ID" val="553512"/>
  <p:tag name="MH_ORDER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2203525"/>
  <p:tag name="MH_LIBRARY" val="GRAPHIC"/>
  <p:tag name="MH_TYPE" val="SubTitle"/>
  <p:tag name="MH_ORDER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2203525"/>
  <p:tag name="MH_LIBRARY" val="GRAPHIC"/>
  <p:tag name="MH_TYPE" val="Other"/>
  <p:tag name="MH_ORDER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2203525"/>
  <p:tag name="MH_LIBRARY" val="GRAPHIC"/>
  <p:tag name="MH_TYPE" val="SubTitle"/>
  <p:tag name="MH_ORDER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2203525"/>
  <p:tag name="MH_LIBRARY" val="GRAPHIC"/>
  <p:tag name="MH_TYPE" val="Other"/>
  <p:tag name="MH_ORDER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022203525"/>
  <p:tag name="MH_LIBRARY" val="GRAPHIC"/>
  <p:tag name="MH_TYPE" val="SubTitle"/>
  <p:tag name="MH_ORDER" val="3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957</TotalTime>
  <Words>573</Words>
  <Application>Microsoft Office PowerPoint</Application>
  <PresentationFormat>全屏显示(16:10)</PresentationFormat>
  <Paragraphs>113</Paragraphs>
  <Slides>11</Slides>
  <Notes>6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1</vt:i4>
      </vt:variant>
    </vt:vector>
  </HeadingPairs>
  <TitlesOfParts>
    <vt:vector size="19" baseType="lpstr">
      <vt:lpstr>华文楷体</vt:lpstr>
      <vt:lpstr>宋体</vt:lpstr>
      <vt:lpstr>微软雅黑</vt:lpstr>
      <vt:lpstr>Arial</vt:lpstr>
      <vt:lpstr>Calibri</vt:lpstr>
      <vt:lpstr>Helvetica</vt:lpstr>
      <vt:lpstr>Office 主题​​</vt:lpstr>
      <vt:lpstr>think-cell Slide</vt:lpstr>
      <vt:lpstr>2019年01月月报</vt:lpstr>
      <vt:lpstr>目录</vt:lpstr>
      <vt:lpstr>PowerPoint 演示文稿</vt:lpstr>
      <vt:lpstr>本月工作计划</vt:lpstr>
      <vt:lpstr>PowerPoint 演示文稿</vt:lpstr>
      <vt:lpstr>工作完成内容</vt:lpstr>
      <vt:lpstr>PowerPoint 演示文稿</vt:lpstr>
      <vt:lpstr>问题及改进措施</vt:lpstr>
      <vt:lpstr>PowerPoint 演示文稿</vt:lpstr>
      <vt:lpstr>下个月工作计划</vt:lpstr>
      <vt:lpstr>PowerPoint 演示文稿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Windows 用户</dc:creator>
  <cp:lastModifiedBy>盛法云</cp:lastModifiedBy>
  <cp:revision>289</cp:revision>
  <dcterms:created xsi:type="dcterms:W3CDTF">2016-05-24T05:07:15Z</dcterms:created>
  <dcterms:modified xsi:type="dcterms:W3CDTF">2019-01-30T02:59:01Z</dcterms:modified>
</cp:coreProperties>
</file>